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4"/>
  </p:notesMasterIdLst>
  <p:sldIdLst>
    <p:sldId id="263" r:id="rId3"/>
    <p:sldId id="264" r:id="rId4"/>
    <p:sldId id="265" r:id="rId5"/>
    <p:sldId id="266" r:id="rId6"/>
    <p:sldId id="267" r:id="rId7"/>
    <p:sldId id="257" r:id="rId8"/>
    <p:sldId id="258" r:id="rId9"/>
    <p:sldId id="260" r:id="rId10"/>
    <p:sldId id="261" r:id="rId11"/>
    <p:sldId id="262" r:id="rId12"/>
    <p:sldId id="268"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11" d="100"/>
          <a:sy n="111" d="100"/>
        </p:scale>
        <p:origin x="-1614" y="-7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hyperlink" Target="http://www.educationendowmentfoundation.com/" TargetMode="External"/><Relationship Id="rId2" Type="http://schemas.openxmlformats.org/officeDocument/2006/relationships/hyperlink" Target="http://www.educ.cam.ac.uk/" TargetMode="External"/><Relationship Id="rId1" Type="http://schemas.openxmlformats.org/officeDocument/2006/relationships/hyperlink" Target="http://www.school21.org/"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www.educationendowmentfoundation.com/" TargetMode="External"/><Relationship Id="rId2" Type="http://schemas.openxmlformats.org/officeDocument/2006/relationships/hyperlink" Target="http://www.educ.cam.ac.uk/" TargetMode="External"/><Relationship Id="rId1" Type="http://schemas.openxmlformats.org/officeDocument/2006/relationships/hyperlink" Target="http://www.school21.org/" TargetMode="External"/></Relationships>
</file>

<file path=ppt/diagrams/colors1.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AB6B3C-3A20-499F-AD28-682D6472A065}" type="doc">
      <dgm:prSet loTypeId="urn:microsoft.com/office/officeart/2005/8/layout/vList2" loCatId="list" qsTypeId="urn:microsoft.com/office/officeart/2005/8/quickstyle/simple1" qsCatId="simple" csTypeId="urn:microsoft.com/office/officeart/2005/8/colors/accent4_1" csCatId="accent4" phldr="1"/>
      <dgm:spPr/>
      <dgm:t>
        <a:bodyPr/>
        <a:lstStyle/>
        <a:p>
          <a:endParaRPr lang="en-GB"/>
        </a:p>
      </dgm:t>
    </dgm:pt>
    <dgm:pt modelId="{8B83E7C2-E1F3-4B76-A6B3-0CF184012D62}">
      <dgm:prSet/>
      <dgm:spPr/>
      <dgm:t>
        <a:bodyPr/>
        <a:lstStyle/>
        <a:p>
          <a:pPr rtl="0"/>
          <a:r>
            <a:rPr lang="en-GB" b="0" i="0" baseline="0" dirty="0" smtClean="0"/>
            <a:t>School 21 is a new Free School in Stratford, east London. It is funded by government but has control over its curriculum and school hours. Admissions are handled by the Borough of Newham. Of our students, 55% are on Free School Meals and four out of five are bilingual.</a:t>
          </a:r>
          <a:endParaRPr lang="en-GB" dirty="0"/>
        </a:p>
      </dgm:t>
    </dgm:pt>
    <dgm:pt modelId="{48F24ECE-183F-4D8D-B089-4136AF1154E4}" type="parTrans" cxnId="{6E989F69-B543-4E28-B5BB-AAF229C2A26C}">
      <dgm:prSet/>
      <dgm:spPr/>
      <dgm:t>
        <a:bodyPr/>
        <a:lstStyle/>
        <a:p>
          <a:endParaRPr lang="en-GB"/>
        </a:p>
      </dgm:t>
    </dgm:pt>
    <dgm:pt modelId="{D93522EC-23D4-489A-ABDD-ABAE2807C3EB}" type="sibTrans" cxnId="{6E989F69-B543-4E28-B5BB-AAF229C2A26C}">
      <dgm:prSet/>
      <dgm:spPr/>
      <dgm:t>
        <a:bodyPr/>
        <a:lstStyle/>
        <a:p>
          <a:endParaRPr lang="en-GB"/>
        </a:p>
      </dgm:t>
    </dgm:pt>
    <dgm:pt modelId="{E5EBD05A-3788-41AA-B52F-8105F527C9A8}">
      <dgm:prSet/>
      <dgm:spPr/>
      <dgm:t>
        <a:bodyPr/>
        <a:lstStyle/>
        <a:p>
          <a:pPr rtl="0"/>
          <a:r>
            <a:rPr lang="en-GB" b="0" i="0" baseline="0" smtClean="0"/>
            <a:t>A team led by Professor Neil Mercer at the Education Faculty is developing a diagnostic tool for oracy. Professor Mercer is an expert on classroom talk. He is assisted by Paul Warwick and Dr Ayesha Ahmed.</a:t>
          </a:r>
          <a:endParaRPr lang="en-GB" dirty="0"/>
        </a:p>
      </dgm:t>
    </dgm:pt>
    <dgm:pt modelId="{56DD76DB-0E52-498E-9A65-BDF599F522A6}" type="parTrans" cxnId="{7C47571B-04B2-426D-A1F1-4AEA2C3A4301}">
      <dgm:prSet/>
      <dgm:spPr/>
      <dgm:t>
        <a:bodyPr/>
        <a:lstStyle/>
        <a:p>
          <a:endParaRPr lang="en-GB"/>
        </a:p>
      </dgm:t>
    </dgm:pt>
    <dgm:pt modelId="{AA097976-6E86-452F-B4FA-EAE976ED9E5C}" type="sibTrans" cxnId="{7C47571B-04B2-426D-A1F1-4AEA2C3A4301}">
      <dgm:prSet/>
      <dgm:spPr/>
      <dgm:t>
        <a:bodyPr/>
        <a:lstStyle/>
        <a:p>
          <a:endParaRPr lang="en-GB"/>
        </a:p>
      </dgm:t>
    </dgm:pt>
    <dgm:pt modelId="{39DB8565-0B80-4FA7-8D7C-BB43AFCA61BB}">
      <dgm:prSet/>
      <dgm:spPr/>
      <dgm:t>
        <a:bodyPr/>
        <a:lstStyle/>
        <a:p>
          <a:pPr rtl="0"/>
          <a:r>
            <a:rPr lang="en-GB" b="0" i="0" baseline="0" smtClean="0"/>
            <a:t>The EEF is providing funding for the project. It is an independent grant-making charity, ‘dedicated to breaking the link between family income and educational achievement’. Funding was awarded in January 2013.</a:t>
          </a:r>
          <a:endParaRPr lang="en-GB" dirty="0"/>
        </a:p>
      </dgm:t>
    </dgm:pt>
    <dgm:pt modelId="{05AB90B8-4F49-4313-BA2D-DD40CACB8306}" type="parTrans" cxnId="{77AD742B-0106-49D5-B11A-73F51FE3AD37}">
      <dgm:prSet/>
      <dgm:spPr/>
      <dgm:t>
        <a:bodyPr/>
        <a:lstStyle/>
        <a:p>
          <a:endParaRPr lang="en-GB"/>
        </a:p>
      </dgm:t>
    </dgm:pt>
    <dgm:pt modelId="{4F59F470-6BB4-4522-AE23-A1F3069F11C5}" type="sibTrans" cxnId="{77AD742B-0106-49D5-B11A-73F51FE3AD37}">
      <dgm:prSet/>
      <dgm:spPr/>
      <dgm:t>
        <a:bodyPr/>
        <a:lstStyle/>
        <a:p>
          <a:endParaRPr lang="en-GB"/>
        </a:p>
      </dgm:t>
    </dgm:pt>
    <dgm:pt modelId="{A189D991-F2CE-47E0-BA2E-E131D1855046}">
      <dgm:prSet/>
      <dgm:spPr/>
      <dgm:t>
        <a:bodyPr/>
        <a:lstStyle/>
        <a:p>
          <a:pPr rtl="0"/>
          <a:r>
            <a:rPr lang="en-GB" dirty="0" smtClean="0">
              <a:hlinkClick xmlns:r="http://schemas.openxmlformats.org/officeDocument/2006/relationships" r:id="rId1"/>
            </a:rPr>
            <a:t>www.school21.org</a:t>
          </a:r>
          <a:r>
            <a:rPr lang="en-GB" dirty="0" smtClean="0"/>
            <a:t> </a:t>
          </a:r>
          <a:endParaRPr lang="en-GB" dirty="0"/>
        </a:p>
      </dgm:t>
    </dgm:pt>
    <dgm:pt modelId="{C817D4EE-DD92-4AE7-B736-2671C70E12F3}" type="parTrans" cxnId="{3E3EEB19-501A-4FC8-B480-E9252435FCB7}">
      <dgm:prSet/>
      <dgm:spPr/>
      <dgm:t>
        <a:bodyPr/>
        <a:lstStyle/>
        <a:p>
          <a:endParaRPr lang="en-GB"/>
        </a:p>
      </dgm:t>
    </dgm:pt>
    <dgm:pt modelId="{96008BBB-0C54-4FDD-84F3-58ADD65FB327}" type="sibTrans" cxnId="{3E3EEB19-501A-4FC8-B480-E9252435FCB7}">
      <dgm:prSet/>
      <dgm:spPr/>
      <dgm:t>
        <a:bodyPr/>
        <a:lstStyle/>
        <a:p>
          <a:endParaRPr lang="en-GB"/>
        </a:p>
      </dgm:t>
    </dgm:pt>
    <dgm:pt modelId="{3495F834-8234-4936-8619-07D2392F3A71}">
      <dgm:prSet/>
      <dgm:spPr/>
      <dgm:t>
        <a:bodyPr/>
        <a:lstStyle/>
        <a:p>
          <a:pPr rtl="0"/>
          <a:r>
            <a:rPr lang="en-GB" dirty="0" smtClean="0">
              <a:hlinkClick xmlns:r="http://schemas.openxmlformats.org/officeDocument/2006/relationships" r:id="rId2"/>
            </a:rPr>
            <a:t>www.educ.cam.ac.uk</a:t>
          </a:r>
          <a:r>
            <a:rPr lang="en-GB" dirty="0" smtClean="0"/>
            <a:t> </a:t>
          </a:r>
          <a:endParaRPr lang="en-GB" dirty="0"/>
        </a:p>
      </dgm:t>
    </dgm:pt>
    <dgm:pt modelId="{7E7E88CE-A437-4513-92CB-52AED2229764}" type="parTrans" cxnId="{0613FCED-AC6D-43CC-917C-3AD9301FC7F3}">
      <dgm:prSet/>
      <dgm:spPr/>
      <dgm:t>
        <a:bodyPr/>
        <a:lstStyle/>
        <a:p>
          <a:endParaRPr lang="en-GB"/>
        </a:p>
      </dgm:t>
    </dgm:pt>
    <dgm:pt modelId="{6970D5BE-391E-44F9-8E22-EB6950074259}" type="sibTrans" cxnId="{0613FCED-AC6D-43CC-917C-3AD9301FC7F3}">
      <dgm:prSet/>
      <dgm:spPr/>
      <dgm:t>
        <a:bodyPr/>
        <a:lstStyle/>
        <a:p>
          <a:endParaRPr lang="en-GB"/>
        </a:p>
      </dgm:t>
    </dgm:pt>
    <dgm:pt modelId="{17CC17E7-FD9E-48D5-B7B6-C0443FA469CB}">
      <dgm:prSet/>
      <dgm:spPr/>
      <dgm:t>
        <a:bodyPr/>
        <a:lstStyle/>
        <a:p>
          <a:pPr rtl="0"/>
          <a:r>
            <a:rPr lang="en-GB" dirty="0" smtClean="0">
              <a:hlinkClick xmlns:r="http://schemas.openxmlformats.org/officeDocument/2006/relationships" r:id="rId3"/>
            </a:rPr>
            <a:t>www.educationendowmentfoundation.com</a:t>
          </a:r>
          <a:r>
            <a:rPr lang="en-GB" dirty="0" smtClean="0"/>
            <a:t> </a:t>
          </a:r>
          <a:endParaRPr lang="en-GB" dirty="0"/>
        </a:p>
      </dgm:t>
    </dgm:pt>
    <dgm:pt modelId="{8BA42E58-12CD-48E7-B3FD-A95B7F638BC5}" type="parTrans" cxnId="{B3FECB73-FEC9-4FC3-B52E-5BC9823987F9}">
      <dgm:prSet/>
      <dgm:spPr/>
      <dgm:t>
        <a:bodyPr/>
        <a:lstStyle/>
        <a:p>
          <a:endParaRPr lang="en-GB"/>
        </a:p>
      </dgm:t>
    </dgm:pt>
    <dgm:pt modelId="{17DA8634-852A-4674-8F16-64C09C065267}" type="sibTrans" cxnId="{B3FECB73-FEC9-4FC3-B52E-5BC9823987F9}">
      <dgm:prSet/>
      <dgm:spPr/>
      <dgm:t>
        <a:bodyPr/>
        <a:lstStyle/>
        <a:p>
          <a:endParaRPr lang="en-GB"/>
        </a:p>
      </dgm:t>
    </dgm:pt>
    <dgm:pt modelId="{CADE7C64-5110-4BC7-A26D-FC3633109943}" type="pres">
      <dgm:prSet presAssocID="{A0AB6B3C-3A20-499F-AD28-682D6472A065}" presName="linear" presStyleCnt="0">
        <dgm:presLayoutVars>
          <dgm:animLvl val="lvl"/>
          <dgm:resizeHandles val="exact"/>
        </dgm:presLayoutVars>
      </dgm:prSet>
      <dgm:spPr/>
      <dgm:t>
        <a:bodyPr/>
        <a:lstStyle/>
        <a:p>
          <a:endParaRPr lang="en-GB"/>
        </a:p>
      </dgm:t>
    </dgm:pt>
    <dgm:pt modelId="{1BFD841B-2BDC-42F3-A7BB-2CAE623D3649}" type="pres">
      <dgm:prSet presAssocID="{8B83E7C2-E1F3-4B76-A6B3-0CF184012D62}" presName="parentText" presStyleLbl="node1" presStyleIdx="0" presStyleCnt="3">
        <dgm:presLayoutVars>
          <dgm:chMax val="0"/>
          <dgm:bulletEnabled val="1"/>
        </dgm:presLayoutVars>
      </dgm:prSet>
      <dgm:spPr/>
      <dgm:t>
        <a:bodyPr/>
        <a:lstStyle/>
        <a:p>
          <a:endParaRPr lang="en-GB"/>
        </a:p>
      </dgm:t>
    </dgm:pt>
    <dgm:pt modelId="{F4660E43-FDE6-4F0C-BFD1-CD9A401B3FA5}" type="pres">
      <dgm:prSet presAssocID="{8B83E7C2-E1F3-4B76-A6B3-0CF184012D62}" presName="childText" presStyleLbl="revTx" presStyleIdx="0" presStyleCnt="3">
        <dgm:presLayoutVars>
          <dgm:bulletEnabled val="1"/>
        </dgm:presLayoutVars>
      </dgm:prSet>
      <dgm:spPr/>
      <dgm:t>
        <a:bodyPr/>
        <a:lstStyle/>
        <a:p>
          <a:endParaRPr lang="en-GB"/>
        </a:p>
      </dgm:t>
    </dgm:pt>
    <dgm:pt modelId="{D7B5AC0E-976B-4E2A-962D-B1BA767CEF86}" type="pres">
      <dgm:prSet presAssocID="{E5EBD05A-3788-41AA-B52F-8105F527C9A8}" presName="parentText" presStyleLbl="node1" presStyleIdx="1" presStyleCnt="3">
        <dgm:presLayoutVars>
          <dgm:chMax val="0"/>
          <dgm:bulletEnabled val="1"/>
        </dgm:presLayoutVars>
      </dgm:prSet>
      <dgm:spPr/>
      <dgm:t>
        <a:bodyPr/>
        <a:lstStyle/>
        <a:p>
          <a:endParaRPr lang="en-GB"/>
        </a:p>
      </dgm:t>
    </dgm:pt>
    <dgm:pt modelId="{ECFB4788-E7F0-455B-8C82-A50159D4D4FC}" type="pres">
      <dgm:prSet presAssocID="{E5EBD05A-3788-41AA-B52F-8105F527C9A8}" presName="childText" presStyleLbl="revTx" presStyleIdx="1" presStyleCnt="3">
        <dgm:presLayoutVars>
          <dgm:bulletEnabled val="1"/>
        </dgm:presLayoutVars>
      </dgm:prSet>
      <dgm:spPr/>
      <dgm:t>
        <a:bodyPr/>
        <a:lstStyle/>
        <a:p>
          <a:endParaRPr lang="en-GB"/>
        </a:p>
      </dgm:t>
    </dgm:pt>
    <dgm:pt modelId="{D7B279C6-A9D9-48D2-B705-E5CFA5DF9DBB}" type="pres">
      <dgm:prSet presAssocID="{39DB8565-0B80-4FA7-8D7C-BB43AFCA61BB}" presName="parentText" presStyleLbl="node1" presStyleIdx="2" presStyleCnt="3">
        <dgm:presLayoutVars>
          <dgm:chMax val="0"/>
          <dgm:bulletEnabled val="1"/>
        </dgm:presLayoutVars>
      </dgm:prSet>
      <dgm:spPr/>
      <dgm:t>
        <a:bodyPr/>
        <a:lstStyle/>
        <a:p>
          <a:endParaRPr lang="en-GB"/>
        </a:p>
      </dgm:t>
    </dgm:pt>
    <dgm:pt modelId="{029AFA9A-4318-4F37-AFF3-B71DBD1B8185}" type="pres">
      <dgm:prSet presAssocID="{39DB8565-0B80-4FA7-8D7C-BB43AFCA61BB}" presName="childText" presStyleLbl="revTx" presStyleIdx="2" presStyleCnt="3">
        <dgm:presLayoutVars>
          <dgm:bulletEnabled val="1"/>
        </dgm:presLayoutVars>
      </dgm:prSet>
      <dgm:spPr/>
      <dgm:t>
        <a:bodyPr/>
        <a:lstStyle/>
        <a:p>
          <a:endParaRPr lang="en-GB"/>
        </a:p>
      </dgm:t>
    </dgm:pt>
  </dgm:ptLst>
  <dgm:cxnLst>
    <dgm:cxn modelId="{7C47571B-04B2-426D-A1F1-4AEA2C3A4301}" srcId="{A0AB6B3C-3A20-499F-AD28-682D6472A065}" destId="{E5EBD05A-3788-41AA-B52F-8105F527C9A8}" srcOrd="1" destOrd="0" parTransId="{56DD76DB-0E52-498E-9A65-BDF599F522A6}" sibTransId="{AA097976-6E86-452F-B4FA-EAE976ED9E5C}"/>
    <dgm:cxn modelId="{87EC960F-F929-4478-A78F-DA43C5E93E29}" type="presOf" srcId="{A0AB6B3C-3A20-499F-AD28-682D6472A065}" destId="{CADE7C64-5110-4BC7-A26D-FC3633109943}" srcOrd="0" destOrd="0" presId="urn:microsoft.com/office/officeart/2005/8/layout/vList2"/>
    <dgm:cxn modelId="{E898F74B-224A-460B-B59F-D979D1246488}" type="presOf" srcId="{39DB8565-0B80-4FA7-8D7C-BB43AFCA61BB}" destId="{D7B279C6-A9D9-48D2-B705-E5CFA5DF9DBB}" srcOrd="0" destOrd="0" presId="urn:microsoft.com/office/officeart/2005/8/layout/vList2"/>
    <dgm:cxn modelId="{9E580954-E9D2-4445-8966-C94DE3F09DDF}" type="presOf" srcId="{8B83E7C2-E1F3-4B76-A6B3-0CF184012D62}" destId="{1BFD841B-2BDC-42F3-A7BB-2CAE623D3649}" srcOrd="0" destOrd="0" presId="urn:microsoft.com/office/officeart/2005/8/layout/vList2"/>
    <dgm:cxn modelId="{0613FCED-AC6D-43CC-917C-3AD9301FC7F3}" srcId="{E5EBD05A-3788-41AA-B52F-8105F527C9A8}" destId="{3495F834-8234-4936-8619-07D2392F3A71}" srcOrd="0" destOrd="0" parTransId="{7E7E88CE-A437-4513-92CB-52AED2229764}" sibTransId="{6970D5BE-391E-44F9-8E22-EB6950074259}"/>
    <dgm:cxn modelId="{5FAF3031-FA67-4CED-A5E4-BF643793EB9C}" type="presOf" srcId="{E5EBD05A-3788-41AA-B52F-8105F527C9A8}" destId="{D7B5AC0E-976B-4E2A-962D-B1BA767CEF86}" srcOrd="0" destOrd="0" presId="urn:microsoft.com/office/officeart/2005/8/layout/vList2"/>
    <dgm:cxn modelId="{B3FECB73-FEC9-4FC3-B52E-5BC9823987F9}" srcId="{39DB8565-0B80-4FA7-8D7C-BB43AFCA61BB}" destId="{17CC17E7-FD9E-48D5-B7B6-C0443FA469CB}" srcOrd="0" destOrd="0" parTransId="{8BA42E58-12CD-48E7-B3FD-A95B7F638BC5}" sibTransId="{17DA8634-852A-4674-8F16-64C09C065267}"/>
    <dgm:cxn modelId="{77AD742B-0106-49D5-B11A-73F51FE3AD37}" srcId="{A0AB6B3C-3A20-499F-AD28-682D6472A065}" destId="{39DB8565-0B80-4FA7-8D7C-BB43AFCA61BB}" srcOrd="2" destOrd="0" parTransId="{05AB90B8-4F49-4313-BA2D-DD40CACB8306}" sibTransId="{4F59F470-6BB4-4522-AE23-A1F3069F11C5}"/>
    <dgm:cxn modelId="{0719D163-E60F-42D3-852B-77FA691D68DC}" type="presOf" srcId="{17CC17E7-FD9E-48D5-B7B6-C0443FA469CB}" destId="{029AFA9A-4318-4F37-AFF3-B71DBD1B8185}" srcOrd="0" destOrd="0" presId="urn:microsoft.com/office/officeart/2005/8/layout/vList2"/>
    <dgm:cxn modelId="{8C7D75EC-EB77-4535-B196-F3DF685EC9FE}" type="presOf" srcId="{3495F834-8234-4936-8619-07D2392F3A71}" destId="{ECFB4788-E7F0-455B-8C82-A50159D4D4FC}" srcOrd="0" destOrd="0" presId="urn:microsoft.com/office/officeart/2005/8/layout/vList2"/>
    <dgm:cxn modelId="{6E989F69-B543-4E28-B5BB-AAF229C2A26C}" srcId="{A0AB6B3C-3A20-499F-AD28-682D6472A065}" destId="{8B83E7C2-E1F3-4B76-A6B3-0CF184012D62}" srcOrd="0" destOrd="0" parTransId="{48F24ECE-183F-4D8D-B089-4136AF1154E4}" sibTransId="{D93522EC-23D4-489A-ABDD-ABAE2807C3EB}"/>
    <dgm:cxn modelId="{EF550619-7860-430A-8C61-65E40301876C}" type="presOf" srcId="{A189D991-F2CE-47E0-BA2E-E131D1855046}" destId="{F4660E43-FDE6-4F0C-BFD1-CD9A401B3FA5}" srcOrd="0" destOrd="0" presId="urn:microsoft.com/office/officeart/2005/8/layout/vList2"/>
    <dgm:cxn modelId="{3E3EEB19-501A-4FC8-B480-E9252435FCB7}" srcId="{8B83E7C2-E1F3-4B76-A6B3-0CF184012D62}" destId="{A189D991-F2CE-47E0-BA2E-E131D1855046}" srcOrd="0" destOrd="0" parTransId="{C817D4EE-DD92-4AE7-B736-2671C70E12F3}" sibTransId="{96008BBB-0C54-4FDD-84F3-58ADD65FB327}"/>
    <dgm:cxn modelId="{55CFCE48-44D8-4F89-B621-A11FFFEED13F}" type="presParOf" srcId="{CADE7C64-5110-4BC7-A26D-FC3633109943}" destId="{1BFD841B-2BDC-42F3-A7BB-2CAE623D3649}" srcOrd="0" destOrd="0" presId="urn:microsoft.com/office/officeart/2005/8/layout/vList2"/>
    <dgm:cxn modelId="{32694207-3E7A-48A4-85E4-0C68DD1B8FA6}" type="presParOf" srcId="{CADE7C64-5110-4BC7-A26D-FC3633109943}" destId="{F4660E43-FDE6-4F0C-BFD1-CD9A401B3FA5}" srcOrd="1" destOrd="0" presId="urn:microsoft.com/office/officeart/2005/8/layout/vList2"/>
    <dgm:cxn modelId="{5FD0558A-A557-4372-AC7E-638C773E4C64}" type="presParOf" srcId="{CADE7C64-5110-4BC7-A26D-FC3633109943}" destId="{D7B5AC0E-976B-4E2A-962D-B1BA767CEF86}" srcOrd="2" destOrd="0" presId="urn:microsoft.com/office/officeart/2005/8/layout/vList2"/>
    <dgm:cxn modelId="{E440A698-188C-40DB-BB51-2452EF0808AC}" type="presParOf" srcId="{CADE7C64-5110-4BC7-A26D-FC3633109943}" destId="{ECFB4788-E7F0-455B-8C82-A50159D4D4FC}" srcOrd="3" destOrd="0" presId="urn:microsoft.com/office/officeart/2005/8/layout/vList2"/>
    <dgm:cxn modelId="{4A452AFC-8266-4E29-B108-4C21FC751B78}" type="presParOf" srcId="{CADE7C64-5110-4BC7-A26D-FC3633109943}" destId="{D7B279C6-A9D9-48D2-B705-E5CFA5DF9DBB}" srcOrd="4" destOrd="0" presId="urn:microsoft.com/office/officeart/2005/8/layout/vList2"/>
    <dgm:cxn modelId="{ADFF1B0D-F8D2-401B-B64F-E14E65D9E1AD}" type="presParOf" srcId="{CADE7C64-5110-4BC7-A26D-FC3633109943}" destId="{029AFA9A-4318-4F37-AFF3-B71DBD1B8185}" srcOrd="5"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59342A-34C2-48B2-B71E-C08E3892AAAF}" type="doc">
      <dgm:prSet loTypeId="urn:microsoft.com/office/officeart/2005/8/layout/vList2" loCatId="list" qsTypeId="urn:microsoft.com/office/officeart/2005/8/quickstyle/simple1" qsCatId="simple" csTypeId="urn:microsoft.com/office/officeart/2005/8/colors/accent4_2" csCatId="accent4" phldr="1"/>
      <dgm:spPr/>
      <dgm:t>
        <a:bodyPr/>
        <a:lstStyle/>
        <a:p>
          <a:endParaRPr lang="en-GB"/>
        </a:p>
      </dgm:t>
    </dgm:pt>
    <dgm:pt modelId="{A588736D-3E0B-48D7-B30D-EF2004C38393}">
      <dgm:prSet/>
      <dgm:spPr/>
      <dgm:t>
        <a:bodyPr/>
        <a:lstStyle/>
        <a:p>
          <a:pPr rtl="0"/>
          <a:r>
            <a:rPr lang="en-GB" dirty="0" smtClean="0">
              <a:latin typeface="Gill Sans MT" pitchFamily="34" charset="0"/>
            </a:rPr>
            <a:t>To cover the gaps in our existing expertise</a:t>
          </a:r>
          <a:endParaRPr lang="en-GB" dirty="0">
            <a:latin typeface="Gill Sans MT" pitchFamily="34" charset="0"/>
          </a:endParaRPr>
        </a:p>
      </dgm:t>
    </dgm:pt>
    <dgm:pt modelId="{E5DF66EE-224F-4FC2-B7EA-CE314759170F}" type="parTrans" cxnId="{607F86D9-4155-4F1E-B93F-4E0FA79FD6F6}">
      <dgm:prSet/>
      <dgm:spPr/>
      <dgm:t>
        <a:bodyPr/>
        <a:lstStyle/>
        <a:p>
          <a:endParaRPr lang="en-GB">
            <a:latin typeface="Gill Sans MT" pitchFamily="34" charset="0"/>
          </a:endParaRPr>
        </a:p>
      </dgm:t>
    </dgm:pt>
    <dgm:pt modelId="{49D83C85-1940-4F62-80FE-CFB802FC7211}" type="sibTrans" cxnId="{607F86D9-4155-4F1E-B93F-4E0FA79FD6F6}">
      <dgm:prSet/>
      <dgm:spPr/>
      <dgm:t>
        <a:bodyPr/>
        <a:lstStyle/>
        <a:p>
          <a:endParaRPr lang="en-GB">
            <a:latin typeface="Gill Sans MT" pitchFamily="34" charset="0"/>
          </a:endParaRPr>
        </a:p>
      </dgm:t>
    </dgm:pt>
    <dgm:pt modelId="{E6674EFC-2B9A-47BF-82C0-ED72EA5AB01C}">
      <dgm:prSet/>
      <dgm:spPr/>
      <dgm:t>
        <a:bodyPr/>
        <a:lstStyle/>
        <a:p>
          <a:pPr rtl="0"/>
          <a:r>
            <a:rPr lang="en-GB" dirty="0" smtClean="0">
              <a:latin typeface="Gill Sans MT" pitchFamily="34" charset="0"/>
            </a:rPr>
            <a:t>To benefit from existing practice and from the best in the business</a:t>
          </a:r>
          <a:endParaRPr lang="en-GB" dirty="0">
            <a:latin typeface="Gill Sans MT" pitchFamily="34" charset="0"/>
          </a:endParaRPr>
        </a:p>
      </dgm:t>
    </dgm:pt>
    <dgm:pt modelId="{1752F684-C0BA-4EB3-8949-72ACF50E4CB0}" type="parTrans" cxnId="{9C4562FB-8424-401B-B7BC-37E3AE65D618}">
      <dgm:prSet/>
      <dgm:spPr/>
      <dgm:t>
        <a:bodyPr/>
        <a:lstStyle/>
        <a:p>
          <a:endParaRPr lang="en-GB">
            <a:latin typeface="Gill Sans MT" pitchFamily="34" charset="0"/>
          </a:endParaRPr>
        </a:p>
      </dgm:t>
    </dgm:pt>
    <dgm:pt modelId="{5B42FC9D-6E46-48E4-9820-E3EF7AC1CFD9}" type="sibTrans" cxnId="{9C4562FB-8424-401B-B7BC-37E3AE65D618}">
      <dgm:prSet/>
      <dgm:spPr/>
      <dgm:t>
        <a:bodyPr/>
        <a:lstStyle/>
        <a:p>
          <a:endParaRPr lang="en-GB">
            <a:latin typeface="Gill Sans MT" pitchFamily="34" charset="0"/>
          </a:endParaRPr>
        </a:p>
      </dgm:t>
    </dgm:pt>
    <dgm:pt modelId="{C3D34B4D-0D13-4186-AD02-5FB9CE3A3E0E}">
      <dgm:prSet/>
      <dgm:spPr/>
      <dgm:t>
        <a:bodyPr/>
        <a:lstStyle/>
        <a:p>
          <a:pPr rtl="0"/>
          <a:r>
            <a:rPr lang="en-GB" dirty="0" smtClean="0">
              <a:latin typeface="Gill Sans MT" pitchFamily="34" charset="0"/>
            </a:rPr>
            <a:t>To widen the ‘ownership’ of the project and gain new sources of criticism and feedback</a:t>
          </a:r>
          <a:endParaRPr lang="en-GB" dirty="0">
            <a:latin typeface="Gill Sans MT" pitchFamily="34" charset="0"/>
          </a:endParaRPr>
        </a:p>
      </dgm:t>
    </dgm:pt>
    <dgm:pt modelId="{E8B5F88C-4E8F-4E93-B835-B7ED76A3430B}" type="parTrans" cxnId="{548A0EA0-9A61-458B-8522-D05E02F7C176}">
      <dgm:prSet/>
      <dgm:spPr/>
      <dgm:t>
        <a:bodyPr/>
        <a:lstStyle/>
        <a:p>
          <a:endParaRPr lang="en-GB">
            <a:latin typeface="Gill Sans MT" pitchFamily="34" charset="0"/>
          </a:endParaRPr>
        </a:p>
      </dgm:t>
    </dgm:pt>
    <dgm:pt modelId="{4742B1C5-51A7-40CA-9D01-27311E0C34E0}" type="sibTrans" cxnId="{548A0EA0-9A61-458B-8522-D05E02F7C176}">
      <dgm:prSet/>
      <dgm:spPr/>
      <dgm:t>
        <a:bodyPr/>
        <a:lstStyle/>
        <a:p>
          <a:endParaRPr lang="en-GB">
            <a:latin typeface="Gill Sans MT" pitchFamily="34" charset="0"/>
          </a:endParaRPr>
        </a:p>
      </dgm:t>
    </dgm:pt>
    <dgm:pt modelId="{45ECA6A0-3BA7-41A8-8278-4BE6B9CAA703}" type="pres">
      <dgm:prSet presAssocID="{4559342A-34C2-48B2-B71E-C08E3892AAAF}" presName="linear" presStyleCnt="0">
        <dgm:presLayoutVars>
          <dgm:animLvl val="lvl"/>
          <dgm:resizeHandles val="exact"/>
        </dgm:presLayoutVars>
      </dgm:prSet>
      <dgm:spPr/>
    </dgm:pt>
    <dgm:pt modelId="{FC925B4A-11A6-4A8C-B4CB-B6AF8C80E054}" type="pres">
      <dgm:prSet presAssocID="{A588736D-3E0B-48D7-B30D-EF2004C38393}" presName="parentText" presStyleLbl="node1" presStyleIdx="0" presStyleCnt="3">
        <dgm:presLayoutVars>
          <dgm:chMax val="0"/>
          <dgm:bulletEnabled val="1"/>
        </dgm:presLayoutVars>
      </dgm:prSet>
      <dgm:spPr/>
    </dgm:pt>
    <dgm:pt modelId="{9FC3E5C0-F32D-49DF-B09E-0870F52D4FB5}" type="pres">
      <dgm:prSet presAssocID="{49D83C85-1940-4F62-80FE-CFB802FC7211}" presName="spacer" presStyleCnt="0"/>
      <dgm:spPr/>
    </dgm:pt>
    <dgm:pt modelId="{24BDAB91-A6CD-4FF2-A580-2530EB3B48DA}" type="pres">
      <dgm:prSet presAssocID="{E6674EFC-2B9A-47BF-82C0-ED72EA5AB01C}" presName="parentText" presStyleLbl="node1" presStyleIdx="1" presStyleCnt="3">
        <dgm:presLayoutVars>
          <dgm:chMax val="0"/>
          <dgm:bulletEnabled val="1"/>
        </dgm:presLayoutVars>
      </dgm:prSet>
      <dgm:spPr/>
    </dgm:pt>
    <dgm:pt modelId="{5E86A407-FEA3-419F-BF80-FE73E6908D59}" type="pres">
      <dgm:prSet presAssocID="{5B42FC9D-6E46-48E4-9820-E3EF7AC1CFD9}" presName="spacer" presStyleCnt="0"/>
      <dgm:spPr/>
    </dgm:pt>
    <dgm:pt modelId="{6ACC1E74-F1AF-4931-AEB4-B1FBB87E609C}" type="pres">
      <dgm:prSet presAssocID="{C3D34B4D-0D13-4186-AD02-5FB9CE3A3E0E}" presName="parentText" presStyleLbl="node1" presStyleIdx="2" presStyleCnt="3" custLinFactNeighborY="11609">
        <dgm:presLayoutVars>
          <dgm:chMax val="0"/>
          <dgm:bulletEnabled val="1"/>
        </dgm:presLayoutVars>
      </dgm:prSet>
      <dgm:spPr/>
      <dgm:t>
        <a:bodyPr/>
        <a:lstStyle/>
        <a:p>
          <a:endParaRPr lang="en-GB"/>
        </a:p>
      </dgm:t>
    </dgm:pt>
  </dgm:ptLst>
  <dgm:cxnLst>
    <dgm:cxn modelId="{F3680DA2-AEC9-4059-956C-4B52D0068D3B}" type="presOf" srcId="{4559342A-34C2-48B2-B71E-C08E3892AAAF}" destId="{45ECA6A0-3BA7-41A8-8278-4BE6B9CAA703}" srcOrd="0" destOrd="0" presId="urn:microsoft.com/office/officeart/2005/8/layout/vList2"/>
    <dgm:cxn modelId="{89AF5ABE-7B37-4199-89AE-0F0E5549B275}" type="presOf" srcId="{A588736D-3E0B-48D7-B30D-EF2004C38393}" destId="{FC925B4A-11A6-4A8C-B4CB-B6AF8C80E054}" srcOrd="0" destOrd="0" presId="urn:microsoft.com/office/officeart/2005/8/layout/vList2"/>
    <dgm:cxn modelId="{548A0EA0-9A61-458B-8522-D05E02F7C176}" srcId="{4559342A-34C2-48B2-B71E-C08E3892AAAF}" destId="{C3D34B4D-0D13-4186-AD02-5FB9CE3A3E0E}" srcOrd="2" destOrd="0" parTransId="{E8B5F88C-4E8F-4E93-B835-B7ED76A3430B}" sibTransId="{4742B1C5-51A7-40CA-9D01-27311E0C34E0}"/>
    <dgm:cxn modelId="{607F86D9-4155-4F1E-B93F-4E0FA79FD6F6}" srcId="{4559342A-34C2-48B2-B71E-C08E3892AAAF}" destId="{A588736D-3E0B-48D7-B30D-EF2004C38393}" srcOrd="0" destOrd="0" parTransId="{E5DF66EE-224F-4FC2-B7EA-CE314759170F}" sibTransId="{49D83C85-1940-4F62-80FE-CFB802FC7211}"/>
    <dgm:cxn modelId="{DC982154-A21E-454A-B459-2D05BE168B06}" type="presOf" srcId="{C3D34B4D-0D13-4186-AD02-5FB9CE3A3E0E}" destId="{6ACC1E74-F1AF-4931-AEB4-B1FBB87E609C}" srcOrd="0" destOrd="0" presId="urn:microsoft.com/office/officeart/2005/8/layout/vList2"/>
    <dgm:cxn modelId="{9C4562FB-8424-401B-B7BC-37E3AE65D618}" srcId="{4559342A-34C2-48B2-B71E-C08E3892AAAF}" destId="{E6674EFC-2B9A-47BF-82C0-ED72EA5AB01C}" srcOrd="1" destOrd="0" parTransId="{1752F684-C0BA-4EB3-8949-72ACF50E4CB0}" sibTransId="{5B42FC9D-6E46-48E4-9820-E3EF7AC1CFD9}"/>
    <dgm:cxn modelId="{AA03B37A-0319-489B-AB37-8B6704657351}" type="presOf" srcId="{E6674EFC-2B9A-47BF-82C0-ED72EA5AB01C}" destId="{24BDAB91-A6CD-4FF2-A580-2530EB3B48DA}" srcOrd="0" destOrd="0" presId="urn:microsoft.com/office/officeart/2005/8/layout/vList2"/>
    <dgm:cxn modelId="{73962BBC-7BEF-4113-AF07-EB5F0C4B38C8}" type="presParOf" srcId="{45ECA6A0-3BA7-41A8-8278-4BE6B9CAA703}" destId="{FC925B4A-11A6-4A8C-B4CB-B6AF8C80E054}" srcOrd="0" destOrd="0" presId="urn:microsoft.com/office/officeart/2005/8/layout/vList2"/>
    <dgm:cxn modelId="{07C1917F-6EDE-4887-9DF1-131ACEEDB674}" type="presParOf" srcId="{45ECA6A0-3BA7-41A8-8278-4BE6B9CAA703}" destId="{9FC3E5C0-F32D-49DF-B09E-0870F52D4FB5}" srcOrd="1" destOrd="0" presId="urn:microsoft.com/office/officeart/2005/8/layout/vList2"/>
    <dgm:cxn modelId="{C68F7E99-8E42-4BD2-A26D-56FBCC0F403B}" type="presParOf" srcId="{45ECA6A0-3BA7-41A8-8278-4BE6B9CAA703}" destId="{24BDAB91-A6CD-4FF2-A580-2530EB3B48DA}" srcOrd="2" destOrd="0" presId="urn:microsoft.com/office/officeart/2005/8/layout/vList2"/>
    <dgm:cxn modelId="{549D4F18-4517-4428-801C-851DC435BF05}" type="presParOf" srcId="{45ECA6A0-3BA7-41A8-8278-4BE6B9CAA703}" destId="{5E86A407-FEA3-419F-BF80-FE73E6908D59}" srcOrd="3" destOrd="0" presId="urn:microsoft.com/office/officeart/2005/8/layout/vList2"/>
    <dgm:cxn modelId="{10D25063-CF3D-44F5-B83C-C658C82AC94A}" type="presParOf" srcId="{45ECA6A0-3BA7-41A8-8278-4BE6B9CAA703}" destId="{6ACC1E74-F1AF-4931-AEB4-B1FBB87E609C}" srcOrd="4" destOrd="0" presId="urn:microsoft.com/office/officeart/2005/8/layout/vList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946D228-FADC-4EFC-8CE5-160EA1DBC9D6}" type="doc">
      <dgm:prSet loTypeId="urn:microsoft.com/office/officeart/2005/8/layout/vList2" loCatId="list" qsTypeId="urn:microsoft.com/office/officeart/2005/8/quickstyle/simple1" qsCatId="simple" csTypeId="urn:microsoft.com/office/officeart/2005/8/colors/accent4_2" csCatId="accent4"/>
      <dgm:spPr/>
      <dgm:t>
        <a:bodyPr/>
        <a:lstStyle/>
        <a:p>
          <a:endParaRPr lang="en-GB"/>
        </a:p>
      </dgm:t>
    </dgm:pt>
    <dgm:pt modelId="{AB3EB5ED-E621-492D-835C-E0ED74B8A5A1}">
      <dgm:prSet/>
      <dgm:spPr/>
      <dgm:t>
        <a:bodyPr/>
        <a:lstStyle/>
        <a:p>
          <a:pPr rtl="0"/>
          <a:r>
            <a:rPr lang="en-GB" smtClean="0"/>
            <a:t>An opportunity to make contacts and exchange ideas on practice with other leaders in the teaching of spoken communication</a:t>
          </a:r>
          <a:endParaRPr lang="en-GB"/>
        </a:p>
      </dgm:t>
    </dgm:pt>
    <dgm:pt modelId="{0AA91D44-FEAF-4606-8AC5-5FCACB29FAD5}" type="parTrans" cxnId="{8E6B627F-7022-49C1-9B9E-CECDEE4D4506}">
      <dgm:prSet/>
      <dgm:spPr/>
      <dgm:t>
        <a:bodyPr/>
        <a:lstStyle/>
        <a:p>
          <a:endParaRPr lang="en-GB"/>
        </a:p>
      </dgm:t>
    </dgm:pt>
    <dgm:pt modelId="{92C4114F-F3CD-49FB-ABC1-9890C1C631EC}" type="sibTrans" cxnId="{8E6B627F-7022-49C1-9B9E-CECDEE4D4506}">
      <dgm:prSet/>
      <dgm:spPr/>
      <dgm:t>
        <a:bodyPr/>
        <a:lstStyle/>
        <a:p>
          <a:endParaRPr lang="en-GB"/>
        </a:p>
      </dgm:t>
    </dgm:pt>
    <dgm:pt modelId="{16B4A004-795E-43DE-8B06-079E7CBB44B0}">
      <dgm:prSet/>
      <dgm:spPr/>
      <dgm:t>
        <a:bodyPr/>
        <a:lstStyle/>
        <a:p>
          <a:pPr rtl="0"/>
          <a:r>
            <a:rPr lang="en-GB" smtClean="0"/>
            <a:t>An opportunity for organisations to raise their public profiles</a:t>
          </a:r>
          <a:endParaRPr lang="en-GB"/>
        </a:p>
      </dgm:t>
    </dgm:pt>
    <dgm:pt modelId="{171DAD77-7118-40DE-A987-E92104FDE2FA}" type="parTrans" cxnId="{8A957634-3C65-482F-A4BC-82DDE93E8B14}">
      <dgm:prSet/>
      <dgm:spPr/>
      <dgm:t>
        <a:bodyPr/>
        <a:lstStyle/>
        <a:p>
          <a:endParaRPr lang="en-GB"/>
        </a:p>
      </dgm:t>
    </dgm:pt>
    <dgm:pt modelId="{9023ED45-C358-4C12-93BE-193DD353FB7C}" type="sibTrans" cxnId="{8A957634-3C65-482F-A4BC-82DDE93E8B14}">
      <dgm:prSet/>
      <dgm:spPr/>
      <dgm:t>
        <a:bodyPr/>
        <a:lstStyle/>
        <a:p>
          <a:endParaRPr lang="en-GB"/>
        </a:p>
      </dgm:t>
    </dgm:pt>
    <dgm:pt modelId="{E230441A-3CE8-41F5-B09A-B8D284D05E10}">
      <dgm:prSet/>
      <dgm:spPr/>
      <dgm:t>
        <a:bodyPr/>
        <a:lstStyle/>
        <a:p>
          <a:pPr rtl="0"/>
          <a:r>
            <a:rPr lang="en-GB" smtClean="0"/>
            <a:t>Excellent social-outreach opportunities for businesses, charities and individuals</a:t>
          </a:r>
          <a:endParaRPr lang="en-GB"/>
        </a:p>
      </dgm:t>
    </dgm:pt>
    <dgm:pt modelId="{71D97494-2D81-45BF-981A-223AE0AF7E4B}" type="parTrans" cxnId="{08605DD9-3408-418E-BD89-24D74A9730BE}">
      <dgm:prSet/>
      <dgm:spPr/>
      <dgm:t>
        <a:bodyPr/>
        <a:lstStyle/>
        <a:p>
          <a:endParaRPr lang="en-GB"/>
        </a:p>
      </dgm:t>
    </dgm:pt>
    <dgm:pt modelId="{D5C8ABCB-03CB-44C8-A439-F9D72AF00A30}" type="sibTrans" cxnId="{08605DD9-3408-418E-BD89-24D74A9730BE}">
      <dgm:prSet/>
      <dgm:spPr/>
      <dgm:t>
        <a:bodyPr/>
        <a:lstStyle/>
        <a:p>
          <a:endParaRPr lang="en-GB"/>
        </a:p>
      </dgm:t>
    </dgm:pt>
    <dgm:pt modelId="{43C5E58A-CC68-4F86-9C39-C1ADFF7B1575}" type="pres">
      <dgm:prSet presAssocID="{5946D228-FADC-4EFC-8CE5-160EA1DBC9D6}" presName="linear" presStyleCnt="0">
        <dgm:presLayoutVars>
          <dgm:animLvl val="lvl"/>
          <dgm:resizeHandles val="exact"/>
        </dgm:presLayoutVars>
      </dgm:prSet>
      <dgm:spPr/>
    </dgm:pt>
    <dgm:pt modelId="{C38D37B0-7511-4237-9F52-F5A5D1DBE576}" type="pres">
      <dgm:prSet presAssocID="{AB3EB5ED-E621-492D-835C-E0ED74B8A5A1}" presName="parentText" presStyleLbl="node1" presStyleIdx="0" presStyleCnt="3">
        <dgm:presLayoutVars>
          <dgm:chMax val="0"/>
          <dgm:bulletEnabled val="1"/>
        </dgm:presLayoutVars>
      </dgm:prSet>
      <dgm:spPr/>
    </dgm:pt>
    <dgm:pt modelId="{2CAB7CAE-4CF2-4BD0-BA76-0F27D2B2BFCA}" type="pres">
      <dgm:prSet presAssocID="{92C4114F-F3CD-49FB-ABC1-9890C1C631EC}" presName="spacer" presStyleCnt="0"/>
      <dgm:spPr/>
    </dgm:pt>
    <dgm:pt modelId="{C627F2D8-CA60-4B04-B532-2F083F11054F}" type="pres">
      <dgm:prSet presAssocID="{16B4A004-795E-43DE-8B06-079E7CBB44B0}" presName="parentText" presStyleLbl="node1" presStyleIdx="1" presStyleCnt="3">
        <dgm:presLayoutVars>
          <dgm:chMax val="0"/>
          <dgm:bulletEnabled val="1"/>
        </dgm:presLayoutVars>
      </dgm:prSet>
      <dgm:spPr/>
    </dgm:pt>
    <dgm:pt modelId="{05648B78-7827-4595-A776-02FF6081B0A2}" type="pres">
      <dgm:prSet presAssocID="{9023ED45-C358-4C12-93BE-193DD353FB7C}" presName="spacer" presStyleCnt="0"/>
      <dgm:spPr/>
    </dgm:pt>
    <dgm:pt modelId="{D3E9F50E-5D1A-49A1-9159-CAE8228E98AE}" type="pres">
      <dgm:prSet presAssocID="{E230441A-3CE8-41F5-B09A-B8D284D05E10}" presName="parentText" presStyleLbl="node1" presStyleIdx="2" presStyleCnt="3">
        <dgm:presLayoutVars>
          <dgm:chMax val="0"/>
          <dgm:bulletEnabled val="1"/>
        </dgm:presLayoutVars>
      </dgm:prSet>
      <dgm:spPr/>
    </dgm:pt>
  </dgm:ptLst>
  <dgm:cxnLst>
    <dgm:cxn modelId="{10CAF10B-B95B-4E0D-868C-101AA973793A}" type="presOf" srcId="{AB3EB5ED-E621-492D-835C-E0ED74B8A5A1}" destId="{C38D37B0-7511-4237-9F52-F5A5D1DBE576}" srcOrd="0" destOrd="0" presId="urn:microsoft.com/office/officeart/2005/8/layout/vList2"/>
    <dgm:cxn modelId="{8A957634-3C65-482F-A4BC-82DDE93E8B14}" srcId="{5946D228-FADC-4EFC-8CE5-160EA1DBC9D6}" destId="{16B4A004-795E-43DE-8B06-079E7CBB44B0}" srcOrd="1" destOrd="0" parTransId="{171DAD77-7118-40DE-A987-E92104FDE2FA}" sibTransId="{9023ED45-C358-4C12-93BE-193DD353FB7C}"/>
    <dgm:cxn modelId="{94B6EF64-B1F7-4840-A153-5AF469C29008}" type="presOf" srcId="{E230441A-3CE8-41F5-B09A-B8D284D05E10}" destId="{D3E9F50E-5D1A-49A1-9159-CAE8228E98AE}" srcOrd="0" destOrd="0" presId="urn:microsoft.com/office/officeart/2005/8/layout/vList2"/>
    <dgm:cxn modelId="{8E6B627F-7022-49C1-9B9E-CECDEE4D4506}" srcId="{5946D228-FADC-4EFC-8CE5-160EA1DBC9D6}" destId="{AB3EB5ED-E621-492D-835C-E0ED74B8A5A1}" srcOrd="0" destOrd="0" parTransId="{0AA91D44-FEAF-4606-8AC5-5FCACB29FAD5}" sibTransId="{92C4114F-F3CD-49FB-ABC1-9890C1C631EC}"/>
    <dgm:cxn modelId="{08605DD9-3408-418E-BD89-24D74A9730BE}" srcId="{5946D228-FADC-4EFC-8CE5-160EA1DBC9D6}" destId="{E230441A-3CE8-41F5-B09A-B8D284D05E10}" srcOrd="2" destOrd="0" parTransId="{71D97494-2D81-45BF-981A-223AE0AF7E4B}" sibTransId="{D5C8ABCB-03CB-44C8-A439-F9D72AF00A30}"/>
    <dgm:cxn modelId="{772B70EA-DA63-44C2-ACFD-4FCA7DE187AC}" type="presOf" srcId="{16B4A004-795E-43DE-8B06-079E7CBB44B0}" destId="{C627F2D8-CA60-4B04-B532-2F083F11054F}" srcOrd="0" destOrd="0" presId="urn:microsoft.com/office/officeart/2005/8/layout/vList2"/>
    <dgm:cxn modelId="{CB2D2D8F-89A0-4C47-B0AA-BB4163D8DDF3}" type="presOf" srcId="{5946D228-FADC-4EFC-8CE5-160EA1DBC9D6}" destId="{43C5E58A-CC68-4F86-9C39-C1ADFF7B1575}" srcOrd="0" destOrd="0" presId="urn:microsoft.com/office/officeart/2005/8/layout/vList2"/>
    <dgm:cxn modelId="{0058C547-8334-4D5A-969C-578AC8AD6AB2}" type="presParOf" srcId="{43C5E58A-CC68-4F86-9C39-C1ADFF7B1575}" destId="{C38D37B0-7511-4237-9F52-F5A5D1DBE576}" srcOrd="0" destOrd="0" presId="urn:microsoft.com/office/officeart/2005/8/layout/vList2"/>
    <dgm:cxn modelId="{B11851B3-6D6A-40B3-94A5-B49721031D9E}" type="presParOf" srcId="{43C5E58A-CC68-4F86-9C39-C1ADFF7B1575}" destId="{2CAB7CAE-4CF2-4BD0-BA76-0F27D2B2BFCA}" srcOrd="1" destOrd="0" presId="urn:microsoft.com/office/officeart/2005/8/layout/vList2"/>
    <dgm:cxn modelId="{29A3CDAE-473B-456A-A13A-655E31AE7A82}" type="presParOf" srcId="{43C5E58A-CC68-4F86-9C39-C1ADFF7B1575}" destId="{C627F2D8-CA60-4B04-B532-2F083F11054F}" srcOrd="2" destOrd="0" presId="urn:microsoft.com/office/officeart/2005/8/layout/vList2"/>
    <dgm:cxn modelId="{37158610-C7E9-4DAE-BBE8-CF88B88790E6}" type="presParOf" srcId="{43C5E58A-CC68-4F86-9C39-C1ADFF7B1575}" destId="{05648B78-7827-4595-A776-02FF6081B0A2}" srcOrd="3" destOrd="0" presId="urn:microsoft.com/office/officeart/2005/8/layout/vList2"/>
    <dgm:cxn modelId="{BA9657C1-FB62-4AD2-8A04-182EF509F62D}" type="presParOf" srcId="{43C5E58A-CC68-4F86-9C39-C1ADFF7B1575}" destId="{D3E9F50E-5D1A-49A1-9159-CAE8228E98AE}"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58A509-64C0-4341-8EF8-C99943A7D4BC}" type="doc">
      <dgm:prSet loTypeId="urn:microsoft.com/office/officeart/2005/8/layout/vList2" loCatId="list" qsTypeId="urn:microsoft.com/office/officeart/2005/8/quickstyle/simple1" qsCatId="simple" csTypeId="urn:microsoft.com/office/officeart/2005/8/colors/accent4_1" csCatId="accent4"/>
      <dgm:spPr/>
      <dgm:t>
        <a:bodyPr/>
        <a:lstStyle/>
        <a:p>
          <a:endParaRPr lang="en-GB"/>
        </a:p>
      </dgm:t>
    </dgm:pt>
    <dgm:pt modelId="{35D444C4-79A1-410F-A85E-7B5297F05B80}">
      <dgm:prSet/>
      <dgm:spPr/>
      <dgm:t>
        <a:bodyPr/>
        <a:lstStyle/>
        <a:p>
          <a:pPr rtl="0"/>
          <a:r>
            <a:rPr lang="en-GB" dirty="0" smtClean="0"/>
            <a:t>A skills framework is designed to organise teaching and learning, rather than to fully describe the phenomenon of speech. Some of its distinctions are artificial; it is not the whole story; like all tools, it will be improved as people use it. </a:t>
          </a:r>
          <a:endParaRPr lang="en-GB" dirty="0"/>
        </a:p>
      </dgm:t>
    </dgm:pt>
    <dgm:pt modelId="{C5023DA7-75B0-43CE-B8FC-FF186FDA921C}" type="parTrans" cxnId="{0B104E68-A639-4B4A-82DB-59C2C66B1C01}">
      <dgm:prSet/>
      <dgm:spPr/>
      <dgm:t>
        <a:bodyPr/>
        <a:lstStyle/>
        <a:p>
          <a:endParaRPr lang="en-GB"/>
        </a:p>
      </dgm:t>
    </dgm:pt>
    <dgm:pt modelId="{02F09004-579E-4558-AA9B-F9805E0FF12E}" type="sibTrans" cxnId="{0B104E68-A639-4B4A-82DB-59C2C66B1C01}">
      <dgm:prSet/>
      <dgm:spPr/>
      <dgm:t>
        <a:bodyPr/>
        <a:lstStyle/>
        <a:p>
          <a:endParaRPr lang="en-GB"/>
        </a:p>
      </dgm:t>
    </dgm:pt>
    <dgm:pt modelId="{A7C2B77D-0846-4232-A326-F2C8AD4A2A3D}" type="pres">
      <dgm:prSet presAssocID="{C858A509-64C0-4341-8EF8-C99943A7D4BC}" presName="linear" presStyleCnt="0">
        <dgm:presLayoutVars>
          <dgm:animLvl val="lvl"/>
          <dgm:resizeHandles val="exact"/>
        </dgm:presLayoutVars>
      </dgm:prSet>
      <dgm:spPr/>
    </dgm:pt>
    <dgm:pt modelId="{22CC6894-9D63-4CA9-9FE2-75FC76AE6273}" type="pres">
      <dgm:prSet presAssocID="{35D444C4-79A1-410F-A85E-7B5297F05B80}" presName="parentText" presStyleLbl="node1" presStyleIdx="0" presStyleCnt="1">
        <dgm:presLayoutVars>
          <dgm:chMax val="0"/>
          <dgm:bulletEnabled val="1"/>
        </dgm:presLayoutVars>
      </dgm:prSet>
      <dgm:spPr/>
    </dgm:pt>
  </dgm:ptLst>
  <dgm:cxnLst>
    <dgm:cxn modelId="{1EFE691E-58B6-4B0F-AD05-B4AE9F7EC97B}" type="presOf" srcId="{C858A509-64C0-4341-8EF8-C99943A7D4BC}" destId="{A7C2B77D-0846-4232-A326-F2C8AD4A2A3D}" srcOrd="0" destOrd="0" presId="urn:microsoft.com/office/officeart/2005/8/layout/vList2"/>
    <dgm:cxn modelId="{A1A95B94-0692-4206-A264-50D30CF24155}" type="presOf" srcId="{35D444C4-79A1-410F-A85E-7B5297F05B80}" destId="{22CC6894-9D63-4CA9-9FE2-75FC76AE6273}" srcOrd="0" destOrd="0" presId="urn:microsoft.com/office/officeart/2005/8/layout/vList2"/>
    <dgm:cxn modelId="{0B104E68-A639-4B4A-82DB-59C2C66B1C01}" srcId="{C858A509-64C0-4341-8EF8-C99943A7D4BC}" destId="{35D444C4-79A1-410F-A85E-7B5297F05B80}" srcOrd="0" destOrd="0" parTransId="{C5023DA7-75B0-43CE-B8FC-FF186FDA921C}" sibTransId="{02F09004-579E-4558-AA9B-F9805E0FF12E}"/>
    <dgm:cxn modelId="{BC603D03-832C-4A10-B8D7-7FFA795E4FE2}" type="presParOf" srcId="{A7C2B77D-0846-4232-A326-F2C8AD4A2A3D}" destId="{22CC6894-9D63-4CA9-9FE2-75FC76AE627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53CE5B7-FA01-401E-BDDE-DED4B5E291D8}" type="doc">
      <dgm:prSet loTypeId="urn:microsoft.com/office/officeart/2008/layout/LinedList" loCatId="list" qsTypeId="urn:microsoft.com/office/officeart/2005/8/quickstyle/simple1" qsCatId="simple" csTypeId="urn:microsoft.com/office/officeart/2005/8/colors/accent4_1" csCatId="accent4"/>
      <dgm:spPr/>
      <dgm:t>
        <a:bodyPr/>
        <a:lstStyle/>
        <a:p>
          <a:endParaRPr lang="en-GB"/>
        </a:p>
      </dgm:t>
    </dgm:pt>
    <dgm:pt modelId="{F8A8C533-C1D0-4508-AC1C-7265EABB6BEF}">
      <dgm:prSet/>
      <dgm:spPr/>
      <dgm:t>
        <a:bodyPr/>
        <a:lstStyle/>
        <a:p>
          <a:pPr rtl="0"/>
          <a:r>
            <a:rPr lang="en-GB" dirty="0" smtClean="0">
              <a:latin typeface="Gill Sans MT" pitchFamily="34" charset="0"/>
            </a:rPr>
            <a:t>Cognitive</a:t>
          </a:r>
          <a:endParaRPr lang="en-GB" dirty="0">
            <a:latin typeface="Gill Sans MT" pitchFamily="34" charset="0"/>
          </a:endParaRPr>
        </a:p>
      </dgm:t>
    </dgm:pt>
    <dgm:pt modelId="{D4D677BE-DC8E-4564-88DE-3381E541732E}" type="parTrans" cxnId="{CBAF1C1C-031A-497A-B54F-1AA0F5C28B33}">
      <dgm:prSet/>
      <dgm:spPr/>
      <dgm:t>
        <a:bodyPr/>
        <a:lstStyle/>
        <a:p>
          <a:endParaRPr lang="en-GB"/>
        </a:p>
      </dgm:t>
    </dgm:pt>
    <dgm:pt modelId="{94DAD3C5-32BA-4763-A663-718BB52420FF}" type="sibTrans" cxnId="{CBAF1C1C-031A-497A-B54F-1AA0F5C28B33}">
      <dgm:prSet/>
      <dgm:spPr/>
      <dgm:t>
        <a:bodyPr/>
        <a:lstStyle/>
        <a:p>
          <a:endParaRPr lang="en-GB"/>
        </a:p>
      </dgm:t>
    </dgm:pt>
    <dgm:pt modelId="{BBFF3A93-2B38-4CC8-BD03-6B7EED1DCC18}">
      <dgm:prSet/>
      <dgm:spPr/>
      <dgm:t>
        <a:bodyPr/>
        <a:lstStyle/>
        <a:p>
          <a:pPr rtl="0"/>
          <a:r>
            <a:rPr lang="en-GB" smtClean="0">
              <a:latin typeface="Gill Sans MT" pitchFamily="34" charset="0"/>
            </a:rPr>
            <a:t>The deliberate application of thought to what you’re saying</a:t>
          </a:r>
          <a:endParaRPr lang="en-GB">
            <a:latin typeface="Gill Sans MT" pitchFamily="34" charset="0"/>
          </a:endParaRPr>
        </a:p>
      </dgm:t>
    </dgm:pt>
    <dgm:pt modelId="{1A2F6DE2-4CF4-42E5-BD68-15FAC533DA33}" type="parTrans" cxnId="{08035941-BE07-4327-B3A7-D20FDB25508D}">
      <dgm:prSet/>
      <dgm:spPr/>
      <dgm:t>
        <a:bodyPr/>
        <a:lstStyle/>
        <a:p>
          <a:endParaRPr lang="en-GB"/>
        </a:p>
      </dgm:t>
    </dgm:pt>
    <dgm:pt modelId="{39931ED7-F1F4-4C2E-B085-249492C66FCA}" type="sibTrans" cxnId="{08035941-BE07-4327-B3A7-D20FDB25508D}">
      <dgm:prSet/>
      <dgm:spPr/>
      <dgm:t>
        <a:bodyPr/>
        <a:lstStyle/>
        <a:p>
          <a:endParaRPr lang="en-GB"/>
        </a:p>
      </dgm:t>
    </dgm:pt>
    <dgm:pt modelId="{2DD1F395-3580-46CF-8196-3399272EDDCE}">
      <dgm:prSet/>
      <dgm:spPr/>
      <dgm:t>
        <a:bodyPr/>
        <a:lstStyle/>
        <a:p>
          <a:pPr rtl="0"/>
          <a:r>
            <a:rPr lang="en-GB" dirty="0" smtClean="0">
              <a:latin typeface="Gill Sans MT" pitchFamily="34" charset="0"/>
            </a:rPr>
            <a:t>Linguistic</a:t>
          </a:r>
          <a:endParaRPr lang="en-GB" dirty="0">
            <a:latin typeface="Gill Sans MT" pitchFamily="34" charset="0"/>
          </a:endParaRPr>
        </a:p>
      </dgm:t>
    </dgm:pt>
    <dgm:pt modelId="{A1AAA142-FB3E-4CEB-8D5B-3E157883DB55}" type="parTrans" cxnId="{CB38A0CA-00F4-4879-B948-74FA5B3BCBD2}">
      <dgm:prSet/>
      <dgm:spPr/>
      <dgm:t>
        <a:bodyPr/>
        <a:lstStyle/>
        <a:p>
          <a:endParaRPr lang="en-GB"/>
        </a:p>
      </dgm:t>
    </dgm:pt>
    <dgm:pt modelId="{8B69AF62-2790-44CF-98E2-8484418698F7}" type="sibTrans" cxnId="{CB38A0CA-00F4-4879-B948-74FA5B3BCBD2}">
      <dgm:prSet/>
      <dgm:spPr/>
      <dgm:t>
        <a:bodyPr/>
        <a:lstStyle/>
        <a:p>
          <a:endParaRPr lang="en-GB"/>
        </a:p>
      </dgm:t>
    </dgm:pt>
    <dgm:pt modelId="{D50DD69B-319C-449F-AEA5-2B30A67B97D5}">
      <dgm:prSet/>
      <dgm:spPr/>
      <dgm:t>
        <a:bodyPr/>
        <a:lstStyle/>
        <a:p>
          <a:pPr rtl="0"/>
          <a:r>
            <a:rPr lang="en-GB" smtClean="0">
              <a:latin typeface="Gill Sans MT" pitchFamily="34" charset="0"/>
            </a:rPr>
            <a:t>Knowing which words and phrases to use, and using them</a:t>
          </a:r>
          <a:endParaRPr lang="en-GB">
            <a:latin typeface="Gill Sans MT" pitchFamily="34" charset="0"/>
          </a:endParaRPr>
        </a:p>
      </dgm:t>
    </dgm:pt>
    <dgm:pt modelId="{F1795B33-CE33-4249-A203-64F0AD612694}" type="parTrans" cxnId="{757BD241-4E99-4F6C-9CD2-EA8F2497ED0A}">
      <dgm:prSet/>
      <dgm:spPr/>
      <dgm:t>
        <a:bodyPr/>
        <a:lstStyle/>
        <a:p>
          <a:endParaRPr lang="en-GB"/>
        </a:p>
      </dgm:t>
    </dgm:pt>
    <dgm:pt modelId="{A002AA49-4D9E-4434-BEA0-B27B170FF749}" type="sibTrans" cxnId="{757BD241-4E99-4F6C-9CD2-EA8F2497ED0A}">
      <dgm:prSet/>
      <dgm:spPr/>
      <dgm:t>
        <a:bodyPr/>
        <a:lstStyle/>
        <a:p>
          <a:endParaRPr lang="en-GB"/>
        </a:p>
      </dgm:t>
    </dgm:pt>
    <dgm:pt modelId="{AC9E573F-D934-4012-93CD-71227A49396B}">
      <dgm:prSet/>
      <dgm:spPr/>
      <dgm:t>
        <a:bodyPr/>
        <a:lstStyle/>
        <a:p>
          <a:pPr rtl="0"/>
          <a:r>
            <a:rPr lang="en-GB" smtClean="0">
              <a:latin typeface="Gill Sans MT" pitchFamily="34" charset="0"/>
            </a:rPr>
            <a:t>Physical</a:t>
          </a:r>
          <a:endParaRPr lang="en-GB">
            <a:latin typeface="Gill Sans MT" pitchFamily="34" charset="0"/>
          </a:endParaRPr>
        </a:p>
      </dgm:t>
    </dgm:pt>
    <dgm:pt modelId="{7E8BCEFC-C0DC-4BE8-9099-055765E97E3F}" type="parTrans" cxnId="{2F800BDE-CD23-449D-A9D1-7D651D437EE7}">
      <dgm:prSet/>
      <dgm:spPr/>
      <dgm:t>
        <a:bodyPr/>
        <a:lstStyle/>
        <a:p>
          <a:endParaRPr lang="en-GB"/>
        </a:p>
      </dgm:t>
    </dgm:pt>
    <dgm:pt modelId="{0AFC5C81-99B5-4794-AEAD-7E76E708F3D1}" type="sibTrans" cxnId="{2F800BDE-CD23-449D-A9D1-7D651D437EE7}">
      <dgm:prSet/>
      <dgm:spPr/>
      <dgm:t>
        <a:bodyPr/>
        <a:lstStyle/>
        <a:p>
          <a:endParaRPr lang="en-GB"/>
        </a:p>
      </dgm:t>
    </dgm:pt>
    <dgm:pt modelId="{07F7688B-B90D-4667-A7F7-C60AAB103E1B}">
      <dgm:prSet/>
      <dgm:spPr/>
      <dgm:t>
        <a:bodyPr/>
        <a:lstStyle/>
        <a:p>
          <a:pPr rtl="0"/>
          <a:r>
            <a:rPr lang="en-GB" smtClean="0">
              <a:latin typeface="Gill Sans MT" pitchFamily="34" charset="0"/>
            </a:rPr>
            <a:t>Making yourself heard, using your voice and body as an instrument</a:t>
          </a:r>
          <a:endParaRPr lang="en-GB">
            <a:latin typeface="Gill Sans MT" pitchFamily="34" charset="0"/>
          </a:endParaRPr>
        </a:p>
      </dgm:t>
    </dgm:pt>
    <dgm:pt modelId="{6F24A982-EDC0-44C8-A86E-88DDDEFDD412}" type="parTrans" cxnId="{D4D3F407-8385-49BF-AC1E-6233911D8D21}">
      <dgm:prSet/>
      <dgm:spPr/>
      <dgm:t>
        <a:bodyPr/>
        <a:lstStyle/>
        <a:p>
          <a:endParaRPr lang="en-GB"/>
        </a:p>
      </dgm:t>
    </dgm:pt>
    <dgm:pt modelId="{C8128008-2C3C-4552-84AF-16E0084A671A}" type="sibTrans" cxnId="{D4D3F407-8385-49BF-AC1E-6233911D8D21}">
      <dgm:prSet/>
      <dgm:spPr/>
      <dgm:t>
        <a:bodyPr/>
        <a:lstStyle/>
        <a:p>
          <a:endParaRPr lang="en-GB"/>
        </a:p>
      </dgm:t>
    </dgm:pt>
    <dgm:pt modelId="{048F133F-D04E-449B-B139-65BF86163E08}">
      <dgm:prSet/>
      <dgm:spPr/>
      <dgm:t>
        <a:bodyPr/>
        <a:lstStyle/>
        <a:p>
          <a:pPr rtl="0"/>
          <a:r>
            <a:rPr lang="en-GB" smtClean="0">
              <a:latin typeface="Gill Sans MT" pitchFamily="34" charset="0"/>
            </a:rPr>
            <a:t>Social</a:t>
          </a:r>
          <a:endParaRPr lang="en-GB">
            <a:latin typeface="Gill Sans MT" pitchFamily="34" charset="0"/>
          </a:endParaRPr>
        </a:p>
      </dgm:t>
    </dgm:pt>
    <dgm:pt modelId="{3982BCCF-BD08-4DD7-9272-05A1D7273CBF}" type="parTrans" cxnId="{5328280B-D26C-4F73-8F4D-059790203B0F}">
      <dgm:prSet/>
      <dgm:spPr/>
      <dgm:t>
        <a:bodyPr/>
        <a:lstStyle/>
        <a:p>
          <a:endParaRPr lang="en-GB"/>
        </a:p>
      </dgm:t>
    </dgm:pt>
    <dgm:pt modelId="{DC726F4F-48B2-4469-93FF-9DC50469C67B}" type="sibTrans" cxnId="{5328280B-D26C-4F73-8F4D-059790203B0F}">
      <dgm:prSet/>
      <dgm:spPr/>
      <dgm:t>
        <a:bodyPr/>
        <a:lstStyle/>
        <a:p>
          <a:endParaRPr lang="en-GB"/>
        </a:p>
      </dgm:t>
    </dgm:pt>
    <dgm:pt modelId="{CB3A868A-8724-4F60-AD75-DE6351481279}">
      <dgm:prSet/>
      <dgm:spPr/>
      <dgm:t>
        <a:bodyPr/>
        <a:lstStyle/>
        <a:p>
          <a:pPr rtl="0"/>
          <a:r>
            <a:rPr lang="en-GB" dirty="0" smtClean="0">
              <a:latin typeface="Gill Sans MT" pitchFamily="34" charset="0"/>
            </a:rPr>
            <a:t>Engaging with the people around you; knowing you have the right to speak</a:t>
          </a:r>
          <a:endParaRPr lang="en-GB" dirty="0">
            <a:latin typeface="Gill Sans MT" pitchFamily="34" charset="0"/>
          </a:endParaRPr>
        </a:p>
      </dgm:t>
    </dgm:pt>
    <dgm:pt modelId="{E113F3B0-D1FE-420C-A45C-7133AA90775D}" type="parTrans" cxnId="{48E8E02E-8264-4132-AB63-5B9A0E5C1343}">
      <dgm:prSet/>
      <dgm:spPr/>
      <dgm:t>
        <a:bodyPr/>
        <a:lstStyle/>
        <a:p>
          <a:endParaRPr lang="en-GB"/>
        </a:p>
      </dgm:t>
    </dgm:pt>
    <dgm:pt modelId="{2174361A-472C-4802-B148-836EB66A42C3}" type="sibTrans" cxnId="{48E8E02E-8264-4132-AB63-5B9A0E5C1343}">
      <dgm:prSet/>
      <dgm:spPr/>
      <dgm:t>
        <a:bodyPr/>
        <a:lstStyle/>
        <a:p>
          <a:endParaRPr lang="en-GB"/>
        </a:p>
      </dgm:t>
    </dgm:pt>
    <dgm:pt modelId="{1971A28B-B187-4459-ADED-40668BC17E80}" type="pres">
      <dgm:prSet presAssocID="{353CE5B7-FA01-401E-BDDE-DED4B5E291D8}" presName="vert0" presStyleCnt="0">
        <dgm:presLayoutVars>
          <dgm:dir/>
          <dgm:animOne val="branch"/>
          <dgm:animLvl val="lvl"/>
        </dgm:presLayoutVars>
      </dgm:prSet>
      <dgm:spPr/>
    </dgm:pt>
    <dgm:pt modelId="{78ABD45D-B732-4C54-A9C2-DB3B07CB0552}" type="pres">
      <dgm:prSet presAssocID="{F8A8C533-C1D0-4508-AC1C-7265EABB6BEF}" presName="thickLine" presStyleLbl="alignNode1" presStyleIdx="0" presStyleCnt="4"/>
      <dgm:spPr/>
    </dgm:pt>
    <dgm:pt modelId="{3CE742B2-EE58-46F7-B39D-2D38D1918051}" type="pres">
      <dgm:prSet presAssocID="{F8A8C533-C1D0-4508-AC1C-7265EABB6BEF}" presName="horz1" presStyleCnt="0"/>
      <dgm:spPr/>
    </dgm:pt>
    <dgm:pt modelId="{CFF500DB-9DB1-4103-AB88-123EE7CDFAE1}" type="pres">
      <dgm:prSet presAssocID="{F8A8C533-C1D0-4508-AC1C-7265EABB6BEF}" presName="tx1" presStyleLbl="revTx" presStyleIdx="0" presStyleCnt="8"/>
      <dgm:spPr/>
    </dgm:pt>
    <dgm:pt modelId="{20AF5182-74E5-4B8A-9FD5-0A806D6AB760}" type="pres">
      <dgm:prSet presAssocID="{F8A8C533-C1D0-4508-AC1C-7265EABB6BEF}" presName="vert1" presStyleCnt="0"/>
      <dgm:spPr/>
    </dgm:pt>
    <dgm:pt modelId="{D1FDE656-53C4-4D17-8A30-204D5CBB8304}" type="pres">
      <dgm:prSet presAssocID="{BBFF3A93-2B38-4CC8-BD03-6B7EED1DCC18}" presName="vertSpace2a" presStyleCnt="0"/>
      <dgm:spPr/>
    </dgm:pt>
    <dgm:pt modelId="{CB953BBA-1548-4222-A182-8B9FA1DB97C9}" type="pres">
      <dgm:prSet presAssocID="{BBFF3A93-2B38-4CC8-BD03-6B7EED1DCC18}" presName="horz2" presStyleCnt="0"/>
      <dgm:spPr/>
    </dgm:pt>
    <dgm:pt modelId="{67287E34-9454-42B3-8247-4E0ECBFB2E2A}" type="pres">
      <dgm:prSet presAssocID="{BBFF3A93-2B38-4CC8-BD03-6B7EED1DCC18}" presName="horzSpace2" presStyleCnt="0"/>
      <dgm:spPr/>
    </dgm:pt>
    <dgm:pt modelId="{23D2B69C-D7C4-410F-B724-AF215EA96F9F}" type="pres">
      <dgm:prSet presAssocID="{BBFF3A93-2B38-4CC8-BD03-6B7EED1DCC18}" presName="tx2" presStyleLbl="revTx" presStyleIdx="1" presStyleCnt="8"/>
      <dgm:spPr/>
    </dgm:pt>
    <dgm:pt modelId="{E949BC1A-3CD1-437C-98DF-A3EECE3B0DEC}" type="pres">
      <dgm:prSet presAssocID="{BBFF3A93-2B38-4CC8-BD03-6B7EED1DCC18}" presName="vert2" presStyleCnt="0"/>
      <dgm:spPr/>
    </dgm:pt>
    <dgm:pt modelId="{88589071-38B1-4A3A-9C7B-F8F1A00A27BD}" type="pres">
      <dgm:prSet presAssocID="{BBFF3A93-2B38-4CC8-BD03-6B7EED1DCC18}" presName="thinLine2b" presStyleLbl="callout" presStyleIdx="0" presStyleCnt="4"/>
      <dgm:spPr/>
    </dgm:pt>
    <dgm:pt modelId="{C52CE05A-B292-4012-A8A5-DE98981C80F3}" type="pres">
      <dgm:prSet presAssocID="{BBFF3A93-2B38-4CC8-BD03-6B7EED1DCC18}" presName="vertSpace2b" presStyleCnt="0"/>
      <dgm:spPr/>
    </dgm:pt>
    <dgm:pt modelId="{839AE6A0-E03D-4A82-B62A-8686D6095B25}" type="pres">
      <dgm:prSet presAssocID="{2DD1F395-3580-46CF-8196-3399272EDDCE}" presName="thickLine" presStyleLbl="alignNode1" presStyleIdx="1" presStyleCnt="4"/>
      <dgm:spPr/>
    </dgm:pt>
    <dgm:pt modelId="{80E6BAFB-0312-49C3-840D-EF2FD0A60FA9}" type="pres">
      <dgm:prSet presAssocID="{2DD1F395-3580-46CF-8196-3399272EDDCE}" presName="horz1" presStyleCnt="0"/>
      <dgm:spPr/>
    </dgm:pt>
    <dgm:pt modelId="{80241691-8A91-4B69-A07D-601D0CC9CAD6}" type="pres">
      <dgm:prSet presAssocID="{2DD1F395-3580-46CF-8196-3399272EDDCE}" presName="tx1" presStyleLbl="revTx" presStyleIdx="2" presStyleCnt="8"/>
      <dgm:spPr/>
    </dgm:pt>
    <dgm:pt modelId="{2FB0604F-C74C-4E59-A353-4062138FF63F}" type="pres">
      <dgm:prSet presAssocID="{2DD1F395-3580-46CF-8196-3399272EDDCE}" presName="vert1" presStyleCnt="0"/>
      <dgm:spPr/>
    </dgm:pt>
    <dgm:pt modelId="{0B655195-5E47-4BFE-B7A4-01726BB8B466}" type="pres">
      <dgm:prSet presAssocID="{D50DD69B-319C-449F-AEA5-2B30A67B97D5}" presName="vertSpace2a" presStyleCnt="0"/>
      <dgm:spPr/>
    </dgm:pt>
    <dgm:pt modelId="{D485BB7F-4F5E-4853-9A2B-57D5D67C48C8}" type="pres">
      <dgm:prSet presAssocID="{D50DD69B-319C-449F-AEA5-2B30A67B97D5}" presName="horz2" presStyleCnt="0"/>
      <dgm:spPr/>
    </dgm:pt>
    <dgm:pt modelId="{21139D7B-B7A2-4F22-BE98-CDC046C73592}" type="pres">
      <dgm:prSet presAssocID="{D50DD69B-319C-449F-AEA5-2B30A67B97D5}" presName="horzSpace2" presStyleCnt="0"/>
      <dgm:spPr/>
    </dgm:pt>
    <dgm:pt modelId="{648C8372-039E-49FA-8122-6AE82C134B00}" type="pres">
      <dgm:prSet presAssocID="{D50DD69B-319C-449F-AEA5-2B30A67B97D5}" presName="tx2" presStyleLbl="revTx" presStyleIdx="3" presStyleCnt="8"/>
      <dgm:spPr/>
    </dgm:pt>
    <dgm:pt modelId="{371E6827-BC3B-4B93-9688-75ACA0E3B688}" type="pres">
      <dgm:prSet presAssocID="{D50DD69B-319C-449F-AEA5-2B30A67B97D5}" presName="vert2" presStyleCnt="0"/>
      <dgm:spPr/>
    </dgm:pt>
    <dgm:pt modelId="{A7895E65-A1C8-4866-A3C7-8B813634C15C}" type="pres">
      <dgm:prSet presAssocID="{D50DD69B-319C-449F-AEA5-2B30A67B97D5}" presName="thinLine2b" presStyleLbl="callout" presStyleIdx="1" presStyleCnt="4"/>
      <dgm:spPr/>
    </dgm:pt>
    <dgm:pt modelId="{549A47DF-D577-4FE1-8C7B-06823DBCB1CF}" type="pres">
      <dgm:prSet presAssocID="{D50DD69B-319C-449F-AEA5-2B30A67B97D5}" presName="vertSpace2b" presStyleCnt="0"/>
      <dgm:spPr/>
    </dgm:pt>
    <dgm:pt modelId="{4A4E9529-8761-4798-B5F3-2D5A4B30037E}" type="pres">
      <dgm:prSet presAssocID="{AC9E573F-D934-4012-93CD-71227A49396B}" presName="thickLine" presStyleLbl="alignNode1" presStyleIdx="2" presStyleCnt="4"/>
      <dgm:spPr/>
    </dgm:pt>
    <dgm:pt modelId="{8F12F4AB-CEAA-4F45-BEA5-A10A7E7BB169}" type="pres">
      <dgm:prSet presAssocID="{AC9E573F-D934-4012-93CD-71227A49396B}" presName="horz1" presStyleCnt="0"/>
      <dgm:spPr/>
    </dgm:pt>
    <dgm:pt modelId="{8FF23C2D-1F37-4BEE-B4B4-2C63899DF2D4}" type="pres">
      <dgm:prSet presAssocID="{AC9E573F-D934-4012-93CD-71227A49396B}" presName="tx1" presStyleLbl="revTx" presStyleIdx="4" presStyleCnt="8"/>
      <dgm:spPr/>
    </dgm:pt>
    <dgm:pt modelId="{0D390915-4A18-4C7E-8CC8-8A3BA798F8A5}" type="pres">
      <dgm:prSet presAssocID="{AC9E573F-D934-4012-93CD-71227A49396B}" presName="vert1" presStyleCnt="0"/>
      <dgm:spPr/>
    </dgm:pt>
    <dgm:pt modelId="{0045BE81-794E-4B17-8A2F-86D4A86E4329}" type="pres">
      <dgm:prSet presAssocID="{07F7688B-B90D-4667-A7F7-C60AAB103E1B}" presName="vertSpace2a" presStyleCnt="0"/>
      <dgm:spPr/>
    </dgm:pt>
    <dgm:pt modelId="{E937D231-BFBB-4AC7-99F1-A93DAD20EDB5}" type="pres">
      <dgm:prSet presAssocID="{07F7688B-B90D-4667-A7F7-C60AAB103E1B}" presName="horz2" presStyleCnt="0"/>
      <dgm:spPr/>
    </dgm:pt>
    <dgm:pt modelId="{3A71C428-6632-46E5-B415-03DD21907B4D}" type="pres">
      <dgm:prSet presAssocID="{07F7688B-B90D-4667-A7F7-C60AAB103E1B}" presName="horzSpace2" presStyleCnt="0"/>
      <dgm:spPr/>
    </dgm:pt>
    <dgm:pt modelId="{3F7F7AA1-6E54-49E8-BE39-F2DEE27E612B}" type="pres">
      <dgm:prSet presAssocID="{07F7688B-B90D-4667-A7F7-C60AAB103E1B}" presName="tx2" presStyleLbl="revTx" presStyleIdx="5" presStyleCnt="8"/>
      <dgm:spPr/>
    </dgm:pt>
    <dgm:pt modelId="{20F2086A-76AD-44F5-B3ED-653E692D08C6}" type="pres">
      <dgm:prSet presAssocID="{07F7688B-B90D-4667-A7F7-C60AAB103E1B}" presName="vert2" presStyleCnt="0"/>
      <dgm:spPr/>
    </dgm:pt>
    <dgm:pt modelId="{66322A0D-7DC4-460F-856B-FCFA0F67601D}" type="pres">
      <dgm:prSet presAssocID="{07F7688B-B90D-4667-A7F7-C60AAB103E1B}" presName="thinLine2b" presStyleLbl="callout" presStyleIdx="2" presStyleCnt="4"/>
      <dgm:spPr/>
    </dgm:pt>
    <dgm:pt modelId="{606F4B2C-4561-4AD4-8F17-F318BF45DA66}" type="pres">
      <dgm:prSet presAssocID="{07F7688B-B90D-4667-A7F7-C60AAB103E1B}" presName="vertSpace2b" presStyleCnt="0"/>
      <dgm:spPr/>
    </dgm:pt>
    <dgm:pt modelId="{A7ACE712-2EFF-4CD9-8B01-FA031FFD6815}" type="pres">
      <dgm:prSet presAssocID="{048F133F-D04E-449B-B139-65BF86163E08}" presName="thickLine" presStyleLbl="alignNode1" presStyleIdx="3" presStyleCnt="4"/>
      <dgm:spPr/>
    </dgm:pt>
    <dgm:pt modelId="{980612C5-8643-4D44-9064-9518F1FB05AE}" type="pres">
      <dgm:prSet presAssocID="{048F133F-D04E-449B-B139-65BF86163E08}" presName="horz1" presStyleCnt="0"/>
      <dgm:spPr/>
    </dgm:pt>
    <dgm:pt modelId="{988B4C15-6314-419D-AAFF-C47A9362F8E5}" type="pres">
      <dgm:prSet presAssocID="{048F133F-D04E-449B-B139-65BF86163E08}" presName="tx1" presStyleLbl="revTx" presStyleIdx="6" presStyleCnt="8"/>
      <dgm:spPr/>
    </dgm:pt>
    <dgm:pt modelId="{8EB4D022-F546-489D-B456-D1C99C8BC5F1}" type="pres">
      <dgm:prSet presAssocID="{048F133F-D04E-449B-B139-65BF86163E08}" presName="vert1" presStyleCnt="0"/>
      <dgm:spPr/>
    </dgm:pt>
    <dgm:pt modelId="{54C16FB4-115E-4B73-B20E-8C566CC42F3B}" type="pres">
      <dgm:prSet presAssocID="{CB3A868A-8724-4F60-AD75-DE6351481279}" presName="vertSpace2a" presStyleCnt="0"/>
      <dgm:spPr/>
    </dgm:pt>
    <dgm:pt modelId="{8EBC9EE6-BFCB-421B-8F13-426E63FC3AE4}" type="pres">
      <dgm:prSet presAssocID="{CB3A868A-8724-4F60-AD75-DE6351481279}" presName="horz2" presStyleCnt="0"/>
      <dgm:spPr/>
    </dgm:pt>
    <dgm:pt modelId="{111BC067-D79B-42AD-AD6B-D60D4A578CD6}" type="pres">
      <dgm:prSet presAssocID="{CB3A868A-8724-4F60-AD75-DE6351481279}" presName="horzSpace2" presStyleCnt="0"/>
      <dgm:spPr/>
    </dgm:pt>
    <dgm:pt modelId="{86E44EAD-CE9C-4055-A26C-077F9139D7A1}" type="pres">
      <dgm:prSet presAssocID="{CB3A868A-8724-4F60-AD75-DE6351481279}" presName="tx2" presStyleLbl="revTx" presStyleIdx="7" presStyleCnt="8"/>
      <dgm:spPr/>
    </dgm:pt>
    <dgm:pt modelId="{20805457-11C4-4E36-9009-CB0C7F11BB6C}" type="pres">
      <dgm:prSet presAssocID="{CB3A868A-8724-4F60-AD75-DE6351481279}" presName="vert2" presStyleCnt="0"/>
      <dgm:spPr/>
    </dgm:pt>
    <dgm:pt modelId="{206B7B6B-8E9F-4A1D-A3E3-22CFF2673134}" type="pres">
      <dgm:prSet presAssocID="{CB3A868A-8724-4F60-AD75-DE6351481279}" presName="thinLine2b" presStyleLbl="callout" presStyleIdx="3" presStyleCnt="4"/>
      <dgm:spPr/>
    </dgm:pt>
    <dgm:pt modelId="{2FDB289A-05FC-4F3E-A61D-A8ACE0775F8B}" type="pres">
      <dgm:prSet presAssocID="{CB3A868A-8724-4F60-AD75-DE6351481279}" presName="vertSpace2b" presStyleCnt="0"/>
      <dgm:spPr/>
    </dgm:pt>
  </dgm:ptLst>
  <dgm:cxnLst>
    <dgm:cxn modelId="{2F800BDE-CD23-449D-A9D1-7D651D437EE7}" srcId="{353CE5B7-FA01-401E-BDDE-DED4B5E291D8}" destId="{AC9E573F-D934-4012-93CD-71227A49396B}" srcOrd="2" destOrd="0" parTransId="{7E8BCEFC-C0DC-4BE8-9099-055765E97E3F}" sibTransId="{0AFC5C81-99B5-4794-AEAD-7E76E708F3D1}"/>
    <dgm:cxn modelId="{52E1695C-F1F3-4D8B-AA56-0A1F55D372FA}" type="presOf" srcId="{2DD1F395-3580-46CF-8196-3399272EDDCE}" destId="{80241691-8A91-4B69-A07D-601D0CC9CAD6}" srcOrd="0" destOrd="0" presId="urn:microsoft.com/office/officeart/2008/layout/LinedList"/>
    <dgm:cxn modelId="{D4D3F407-8385-49BF-AC1E-6233911D8D21}" srcId="{AC9E573F-D934-4012-93CD-71227A49396B}" destId="{07F7688B-B90D-4667-A7F7-C60AAB103E1B}" srcOrd="0" destOrd="0" parTransId="{6F24A982-EDC0-44C8-A86E-88DDDEFDD412}" sibTransId="{C8128008-2C3C-4552-84AF-16E0084A671A}"/>
    <dgm:cxn modelId="{76EECA11-75BF-40BC-8923-F303F4C2091A}" type="presOf" srcId="{07F7688B-B90D-4667-A7F7-C60AAB103E1B}" destId="{3F7F7AA1-6E54-49E8-BE39-F2DEE27E612B}" srcOrd="0" destOrd="0" presId="urn:microsoft.com/office/officeart/2008/layout/LinedList"/>
    <dgm:cxn modelId="{EDE568F1-443C-47E1-9A4E-762ACEC0D93F}" type="presOf" srcId="{AC9E573F-D934-4012-93CD-71227A49396B}" destId="{8FF23C2D-1F37-4BEE-B4B4-2C63899DF2D4}" srcOrd="0" destOrd="0" presId="urn:microsoft.com/office/officeart/2008/layout/LinedList"/>
    <dgm:cxn modelId="{08035941-BE07-4327-B3A7-D20FDB25508D}" srcId="{F8A8C533-C1D0-4508-AC1C-7265EABB6BEF}" destId="{BBFF3A93-2B38-4CC8-BD03-6B7EED1DCC18}" srcOrd="0" destOrd="0" parTransId="{1A2F6DE2-4CF4-42E5-BD68-15FAC533DA33}" sibTransId="{39931ED7-F1F4-4C2E-B085-249492C66FCA}"/>
    <dgm:cxn modelId="{2EC29AAD-7B98-476A-A355-4551BDD0E94B}" type="presOf" srcId="{F8A8C533-C1D0-4508-AC1C-7265EABB6BEF}" destId="{CFF500DB-9DB1-4103-AB88-123EE7CDFAE1}" srcOrd="0" destOrd="0" presId="urn:microsoft.com/office/officeart/2008/layout/LinedList"/>
    <dgm:cxn modelId="{A7F8EC5E-6DA3-4C45-9EA3-555AAF9C80FC}" type="presOf" srcId="{D50DD69B-319C-449F-AEA5-2B30A67B97D5}" destId="{648C8372-039E-49FA-8122-6AE82C134B00}" srcOrd="0" destOrd="0" presId="urn:microsoft.com/office/officeart/2008/layout/LinedList"/>
    <dgm:cxn modelId="{AAC05E3D-5F1B-4A20-A560-1EA06C77B6CF}" type="presOf" srcId="{048F133F-D04E-449B-B139-65BF86163E08}" destId="{988B4C15-6314-419D-AAFF-C47A9362F8E5}" srcOrd="0" destOrd="0" presId="urn:microsoft.com/office/officeart/2008/layout/LinedList"/>
    <dgm:cxn modelId="{757BD241-4E99-4F6C-9CD2-EA8F2497ED0A}" srcId="{2DD1F395-3580-46CF-8196-3399272EDDCE}" destId="{D50DD69B-319C-449F-AEA5-2B30A67B97D5}" srcOrd="0" destOrd="0" parTransId="{F1795B33-CE33-4249-A203-64F0AD612694}" sibTransId="{A002AA49-4D9E-4434-BEA0-B27B170FF749}"/>
    <dgm:cxn modelId="{CBAF1C1C-031A-497A-B54F-1AA0F5C28B33}" srcId="{353CE5B7-FA01-401E-BDDE-DED4B5E291D8}" destId="{F8A8C533-C1D0-4508-AC1C-7265EABB6BEF}" srcOrd="0" destOrd="0" parTransId="{D4D677BE-DC8E-4564-88DE-3381E541732E}" sibTransId="{94DAD3C5-32BA-4763-A663-718BB52420FF}"/>
    <dgm:cxn modelId="{71210A82-F74C-4081-B89A-E67CFA8703CC}" type="presOf" srcId="{CB3A868A-8724-4F60-AD75-DE6351481279}" destId="{86E44EAD-CE9C-4055-A26C-077F9139D7A1}" srcOrd="0" destOrd="0" presId="urn:microsoft.com/office/officeart/2008/layout/LinedList"/>
    <dgm:cxn modelId="{5328280B-D26C-4F73-8F4D-059790203B0F}" srcId="{353CE5B7-FA01-401E-BDDE-DED4B5E291D8}" destId="{048F133F-D04E-449B-B139-65BF86163E08}" srcOrd="3" destOrd="0" parTransId="{3982BCCF-BD08-4DD7-9272-05A1D7273CBF}" sibTransId="{DC726F4F-48B2-4469-93FF-9DC50469C67B}"/>
    <dgm:cxn modelId="{48E8E02E-8264-4132-AB63-5B9A0E5C1343}" srcId="{048F133F-D04E-449B-B139-65BF86163E08}" destId="{CB3A868A-8724-4F60-AD75-DE6351481279}" srcOrd="0" destOrd="0" parTransId="{E113F3B0-D1FE-420C-A45C-7133AA90775D}" sibTransId="{2174361A-472C-4802-B148-836EB66A42C3}"/>
    <dgm:cxn modelId="{9C363691-5EAD-4FC8-9282-5FBEB87C7C5B}" type="presOf" srcId="{353CE5B7-FA01-401E-BDDE-DED4B5E291D8}" destId="{1971A28B-B187-4459-ADED-40668BC17E80}" srcOrd="0" destOrd="0" presId="urn:microsoft.com/office/officeart/2008/layout/LinedList"/>
    <dgm:cxn modelId="{1937A11A-D99F-4DE1-BC1C-C07DBA4D2AB8}" type="presOf" srcId="{BBFF3A93-2B38-4CC8-BD03-6B7EED1DCC18}" destId="{23D2B69C-D7C4-410F-B724-AF215EA96F9F}" srcOrd="0" destOrd="0" presId="urn:microsoft.com/office/officeart/2008/layout/LinedList"/>
    <dgm:cxn modelId="{CB38A0CA-00F4-4879-B948-74FA5B3BCBD2}" srcId="{353CE5B7-FA01-401E-BDDE-DED4B5E291D8}" destId="{2DD1F395-3580-46CF-8196-3399272EDDCE}" srcOrd="1" destOrd="0" parTransId="{A1AAA142-FB3E-4CEB-8D5B-3E157883DB55}" sibTransId="{8B69AF62-2790-44CF-98E2-8484418698F7}"/>
    <dgm:cxn modelId="{222CA671-AEA9-4DC1-96C7-042DD833BB42}" type="presParOf" srcId="{1971A28B-B187-4459-ADED-40668BC17E80}" destId="{78ABD45D-B732-4C54-A9C2-DB3B07CB0552}" srcOrd="0" destOrd="0" presId="urn:microsoft.com/office/officeart/2008/layout/LinedList"/>
    <dgm:cxn modelId="{043B0241-C264-41E6-8A28-6A2762403FF4}" type="presParOf" srcId="{1971A28B-B187-4459-ADED-40668BC17E80}" destId="{3CE742B2-EE58-46F7-B39D-2D38D1918051}" srcOrd="1" destOrd="0" presId="urn:microsoft.com/office/officeart/2008/layout/LinedList"/>
    <dgm:cxn modelId="{609F85B2-7752-400F-B37F-5C37C05E0982}" type="presParOf" srcId="{3CE742B2-EE58-46F7-B39D-2D38D1918051}" destId="{CFF500DB-9DB1-4103-AB88-123EE7CDFAE1}" srcOrd="0" destOrd="0" presId="urn:microsoft.com/office/officeart/2008/layout/LinedList"/>
    <dgm:cxn modelId="{59CCDB83-92F6-4CFA-947D-28D10EFA1B45}" type="presParOf" srcId="{3CE742B2-EE58-46F7-B39D-2D38D1918051}" destId="{20AF5182-74E5-4B8A-9FD5-0A806D6AB760}" srcOrd="1" destOrd="0" presId="urn:microsoft.com/office/officeart/2008/layout/LinedList"/>
    <dgm:cxn modelId="{7FE8122E-77BC-4C20-BDDA-B70F534086A1}" type="presParOf" srcId="{20AF5182-74E5-4B8A-9FD5-0A806D6AB760}" destId="{D1FDE656-53C4-4D17-8A30-204D5CBB8304}" srcOrd="0" destOrd="0" presId="urn:microsoft.com/office/officeart/2008/layout/LinedList"/>
    <dgm:cxn modelId="{4C9F5E7E-7273-4919-A51A-2CE9D135F61F}" type="presParOf" srcId="{20AF5182-74E5-4B8A-9FD5-0A806D6AB760}" destId="{CB953BBA-1548-4222-A182-8B9FA1DB97C9}" srcOrd="1" destOrd="0" presId="urn:microsoft.com/office/officeart/2008/layout/LinedList"/>
    <dgm:cxn modelId="{72ECBEE1-2A6D-4676-8E8E-E174550564F8}" type="presParOf" srcId="{CB953BBA-1548-4222-A182-8B9FA1DB97C9}" destId="{67287E34-9454-42B3-8247-4E0ECBFB2E2A}" srcOrd="0" destOrd="0" presId="urn:microsoft.com/office/officeart/2008/layout/LinedList"/>
    <dgm:cxn modelId="{217B49A2-451C-46E5-9FD3-E15AA9712686}" type="presParOf" srcId="{CB953BBA-1548-4222-A182-8B9FA1DB97C9}" destId="{23D2B69C-D7C4-410F-B724-AF215EA96F9F}" srcOrd="1" destOrd="0" presId="urn:microsoft.com/office/officeart/2008/layout/LinedList"/>
    <dgm:cxn modelId="{EA27630D-4D88-4D89-9E86-69ADE3A63B2B}" type="presParOf" srcId="{CB953BBA-1548-4222-A182-8B9FA1DB97C9}" destId="{E949BC1A-3CD1-437C-98DF-A3EECE3B0DEC}" srcOrd="2" destOrd="0" presId="urn:microsoft.com/office/officeart/2008/layout/LinedList"/>
    <dgm:cxn modelId="{D76DFE35-BEA7-459A-85E6-75D5DAE0A5D9}" type="presParOf" srcId="{20AF5182-74E5-4B8A-9FD5-0A806D6AB760}" destId="{88589071-38B1-4A3A-9C7B-F8F1A00A27BD}" srcOrd="2" destOrd="0" presId="urn:microsoft.com/office/officeart/2008/layout/LinedList"/>
    <dgm:cxn modelId="{B5CE334C-12E2-478B-964D-BD4FE84AB9EA}" type="presParOf" srcId="{20AF5182-74E5-4B8A-9FD5-0A806D6AB760}" destId="{C52CE05A-B292-4012-A8A5-DE98981C80F3}" srcOrd="3" destOrd="0" presId="urn:microsoft.com/office/officeart/2008/layout/LinedList"/>
    <dgm:cxn modelId="{5530BC88-1A42-48AD-A935-8A79F3EE1DB7}" type="presParOf" srcId="{1971A28B-B187-4459-ADED-40668BC17E80}" destId="{839AE6A0-E03D-4A82-B62A-8686D6095B25}" srcOrd="2" destOrd="0" presId="urn:microsoft.com/office/officeart/2008/layout/LinedList"/>
    <dgm:cxn modelId="{9B22DDF9-DE21-400C-B031-A4A33534BA6B}" type="presParOf" srcId="{1971A28B-B187-4459-ADED-40668BC17E80}" destId="{80E6BAFB-0312-49C3-840D-EF2FD0A60FA9}" srcOrd="3" destOrd="0" presId="urn:microsoft.com/office/officeart/2008/layout/LinedList"/>
    <dgm:cxn modelId="{D457C154-36F5-4C8E-9141-1B8C88286315}" type="presParOf" srcId="{80E6BAFB-0312-49C3-840D-EF2FD0A60FA9}" destId="{80241691-8A91-4B69-A07D-601D0CC9CAD6}" srcOrd="0" destOrd="0" presId="urn:microsoft.com/office/officeart/2008/layout/LinedList"/>
    <dgm:cxn modelId="{DD328DF4-0819-4423-B68B-CA5A6E23008B}" type="presParOf" srcId="{80E6BAFB-0312-49C3-840D-EF2FD0A60FA9}" destId="{2FB0604F-C74C-4E59-A353-4062138FF63F}" srcOrd="1" destOrd="0" presId="urn:microsoft.com/office/officeart/2008/layout/LinedList"/>
    <dgm:cxn modelId="{9782C449-D5AD-44A1-9084-42A1519689DB}" type="presParOf" srcId="{2FB0604F-C74C-4E59-A353-4062138FF63F}" destId="{0B655195-5E47-4BFE-B7A4-01726BB8B466}" srcOrd="0" destOrd="0" presId="urn:microsoft.com/office/officeart/2008/layout/LinedList"/>
    <dgm:cxn modelId="{CEC0BFC6-536B-4D17-892C-6050EFC8D55F}" type="presParOf" srcId="{2FB0604F-C74C-4E59-A353-4062138FF63F}" destId="{D485BB7F-4F5E-4853-9A2B-57D5D67C48C8}" srcOrd="1" destOrd="0" presId="urn:microsoft.com/office/officeart/2008/layout/LinedList"/>
    <dgm:cxn modelId="{E4E93682-32EC-4EC2-814B-09C76D7C516C}" type="presParOf" srcId="{D485BB7F-4F5E-4853-9A2B-57D5D67C48C8}" destId="{21139D7B-B7A2-4F22-BE98-CDC046C73592}" srcOrd="0" destOrd="0" presId="urn:microsoft.com/office/officeart/2008/layout/LinedList"/>
    <dgm:cxn modelId="{4182A55A-09F4-45B8-96AE-126744CD2C01}" type="presParOf" srcId="{D485BB7F-4F5E-4853-9A2B-57D5D67C48C8}" destId="{648C8372-039E-49FA-8122-6AE82C134B00}" srcOrd="1" destOrd="0" presId="urn:microsoft.com/office/officeart/2008/layout/LinedList"/>
    <dgm:cxn modelId="{DA712934-E75B-4DE1-9871-0BD0B80334B0}" type="presParOf" srcId="{D485BB7F-4F5E-4853-9A2B-57D5D67C48C8}" destId="{371E6827-BC3B-4B93-9688-75ACA0E3B688}" srcOrd="2" destOrd="0" presId="urn:microsoft.com/office/officeart/2008/layout/LinedList"/>
    <dgm:cxn modelId="{F0370C2C-DB43-4E35-BEAF-6FA7617E3CB8}" type="presParOf" srcId="{2FB0604F-C74C-4E59-A353-4062138FF63F}" destId="{A7895E65-A1C8-4866-A3C7-8B813634C15C}" srcOrd="2" destOrd="0" presId="urn:microsoft.com/office/officeart/2008/layout/LinedList"/>
    <dgm:cxn modelId="{386BDA1E-FFC1-4B85-8678-8EC4090D7DD2}" type="presParOf" srcId="{2FB0604F-C74C-4E59-A353-4062138FF63F}" destId="{549A47DF-D577-4FE1-8C7B-06823DBCB1CF}" srcOrd="3" destOrd="0" presId="urn:microsoft.com/office/officeart/2008/layout/LinedList"/>
    <dgm:cxn modelId="{AC54D1DA-1EB2-4D6D-8C15-D727BCBA4E12}" type="presParOf" srcId="{1971A28B-B187-4459-ADED-40668BC17E80}" destId="{4A4E9529-8761-4798-B5F3-2D5A4B30037E}" srcOrd="4" destOrd="0" presId="urn:microsoft.com/office/officeart/2008/layout/LinedList"/>
    <dgm:cxn modelId="{543099D8-D25A-4CED-8E62-077DD5CBAC85}" type="presParOf" srcId="{1971A28B-B187-4459-ADED-40668BC17E80}" destId="{8F12F4AB-CEAA-4F45-BEA5-A10A7E7BB169}" srcOrd="5" destOrd="0" presId="urn:microsoft.com/office/officeart/2008/layout/LinedList"/>
    <dgm:cxn modelId="{7A5CB4C8-72E9-4736-B805-99098A8AE853}" type="presParOf" srcId="{8F12F4AB-CEAA-4F45-BEA5-A10A7E7BB169}" destId="{8FF23C2D-1F37-4BEE-B4B4-2C63899DF2D4}" srcOrd="0" destOrd="0" presId="urn:microsoft.com/office/officeart/2008/layout/LinedList"/>
    <dgm:cxn modelId="{D7D7EEBE-0CEE-45A8-85AD-778B07B42648}" type="presParOf" srcId="{8F12F4AB-CEAA-4F45-BEA5-A10A7E7BB169}" destId="{0D390915-4A18-4C7E-8CC8-8A3BA798F8A5}" srcOrd="1" destOrd="0" presId="urn:microsoft.com/office/officeart/2008/layout/LinedList"/>
    <dgm:cxn modelId="{BC443C65-CC48-41EB-AB22-A1AFBFC5175E}" type="presParOf" srcId="{0D390915-4A18-4C7E-8CC8-8A3BA798F8A5}" destId="{0045BE81-794E-4B17-8A2F-86D4A86E4329}" srcOrd="0" destOrd="0" presId="urn:microsoft.com/office/officeart/2008/layout/LinedList"/>
    <dgm:cxn modelId="{E6CAEE4C-38FA-4B32-B017-8CD149DB47B4}" type="presParOf" srcId="{0D390915-4A18-4C7E-8CC8-8A3BA798F8A5}" destId="{E937D231-BFBB-4AC7-99F1-A93DAD20EDB5}" srcOrd="1" destOrd="0" presId="urn:microsoft.com/office/officeart/2008/layout/LinedList"/>
    <dgm:cxn modelId="{C2E58F81-7815-4AF0-A2B7-2E4A8D4F1757}" type="presParOf" srcId="{E937D231-BFBB-4AC7-99F1-A93DAD20EDB5}" destId="{3A71C428-6632-46E5-B415-03DD21907B4D}" srcOrd="0" destOrd="0" presId="urn:microsoft.com/office/officeart/2008/layout/LinedList"/>
    <dgm:cxn modelId="{090BEFD3-FD18-474F-BE79-50A34C229D3F}" type="presParOf" srcId="{E937D231-BFBB-4AC7-99F1-A93DAD20EDB5}" destId="{3F7F7AA1-6E54-49E8-BE39-F2DEE27E612B}" srcOrd="1" destOrd="0" presId="urn:microsoft.com/office/officeart/2008/layout/LinedList"/>
    <dgm:cxn modelId="{949EE8DD-3874-47A7-9BDC-EE785647E64C}" type="presParOf" srcId="{E937D231-BFBB-4AC7-99F1-A93DAD20EDB5}" destId="{20F2086A-76AD-44F5-B3ED-653E692D08C6}" srcOrd="2" destOrd="0" presId="urn:microsoft.com/office/officeart/2008/layout/LinedList"/>
    <dgm:cxn modelId="{DFD45819-9261-41EA-8185-7FA5669BD968}" type="presParOf" srcId="{0D390915-4A18-4C7E-8CC8-8A3BA798F8A5}" destId="{66322A0D-7DC4-460F-856B-FCFA0F67601D}" srcOrd="2" destOrd="0" presId="urn:microsoft.com/office/officeart/2008/layout/LinedList"/>
    <dgm:cxn modelId="{1FB3FAC4-73EC-4D9E-A99F-C56867F2F178}" type="presParOf" srcId="{0D390915-4A18-4C7E-8CC8-8A3BA798F8A5}" destId="{606F4B2C-4561-4AD4-8F17-F318BF45DA66}" srcOrd="3" destOrd="0" presId="urn:microsoft.com/office/officeart/2008/layout/LinedList"/>
    <dgm:cxn modelId="{75DA49B1-059D-485D-86CC-86CA3C4F0D9A}" type="presParOf" srcId="{1971A28B-B187-4459-ADED-40668BC17E80}" destId="{A7ACE712-2EFF-4CD9-8B01-FA031FFD6815}" srcOrd="6" destOrd="0" presId="urn:microsoft.com/office/officeart/2008/layout/LinedList"/>
    <dgm:cxn modelId="{7747472A-D056-497F-B904-2E6DE4480275}" type="presParOf" srcId="{1971A28B-B187-4459-ADED-40668BC17E80}" destId="{980612C5-8643-4D44-9064-9518F1FB05AE}" srcOrd="7" destOrd="0" presId="urn:microsoft.com/office/officeart/2008/layout/LinedList"/>
    <dgm:cxn modelId="{AF004EF0-1890-4746-806F-63787DD1B0A1}" type="presParOf" srcId="{980612C5-8643-4D44-9064-9518F1FB05AE}" destId="{988B4C15-6314-419D-AAFF-C47A9362F8E5}" srcOrd="0" destOrd="0" presId="urn:microsoft.com/office/officeart/2008/layout/LinedList"/>
    <dgm:cxn modelId="{07EBF1C1-F721-4705-90D4-D8ADBA3D6B29}" type="presParOf" srcId="{980612C5-8643-4D44-9064-9518F1FB05AE}" destId="{8EB4D022-F546-489D-B456-D1C99C8BC5F1}" srcOrd="1" destOrd="0" presId="urn:microsoft.com/office/officeart/2008/layout/LinedList"/>
    <dgm:cxn modelId="{AB9C82BC-9B27-48B0-9BC0-3FE93E2259C7}" type="presParOf" srcId="{8EB4D022-F546-489D-B456-D1C99C8BC5F1}" destId="{54C16FB4-115E-4B73-B20E-8C566CC42F3B}" srcOrd="0" destOrd="0" presId="urn:microsoft.com/office/officeart/2008/layout/LinedList"/>
    <dgm:cxn modelId="{060CD910-F07C-4553-B7B4-D6854A8E0294}" type="presParOf" srcId="{8EB4D022-F546-489D-B456-D1C99C8BC5F1}" destId="{8EBC9EE6-BFCB-421B-8F13-426E63FC3AE4}" srcOrd="1" destOrd="0" presId="urn:microsoft.com/office/officeart/2008/layout/LinedList"/>
    <dgm:cxn modelId="{BF20EE8C-A474-46DC-8CB3-3305E7D43F49}" type="presParOf" srcId="{8EBC9EE6-BFCB-421B-8F13-426E63FC3AE4}" destId="{111BC067-D79B-42AD-AD6B-D60D4A578CD6}" srcOrd="0" destOrd="0" presId="urn:microsoft.com/office/officeart/2008/layout/LinedList"/>
    <dgm:cxn modelId="{72EAFAD9-3418-435F-9306-B91F08D13090}" type="presParOf" srcId="{8EBC9EE6-BFCB-421B-8F13-426E63FC3AE4}" destId="{86E44EAD-CE9C-4055-A26C-077F9139D7A1}" srcOrd="1" destOrd="0" presId="urn:microsoft.com/office/officeart/2008/layout/LinedList"/>
    <dgm:cxn modelId="{0FB96E9A-FCB8-4C80-8E99-FCC732FB92B7}" type="presParOf" srcId="{8EBC9EE6-BFCB-421B-8F13-426E63FC3AE4}" destId="{20805457-11C4-4E36-9009-CB0C7F11BB6C}" srcOrd="2" destOrd="0" presId="urn:microsoft.com/office/officeart/2008/layout/LinedList"/>
    <dgm:cxn modelId="{B2BE14E0-7775-422E-9EC7-A3DAC845DEB6}" type="presParOf" srcId="{8EB4D022-F546-489D-B456-D1C99C8BC5F1}" destId="{206B7B6B-8E9F-4A1D-A3E3-22CFF2673134}" srcOrd="2" destOrd="0" presId="urn:microsoft.com/office/officeart/2008/layout/LinedList"/>
    <dgm:cxn modelId="{7934D2E8-B38E-4106-A26B-DCE549C0E754}" type="presParOf" srcId="{8EB4D022-F546-489D-B456-D1C99C8BC5F1}" destId="{2FDB289A-05FC-4F3E-A61D-A8ACE0775F8B}" srcOrd="3"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CBCF505-FF9B-4463-A8A5-01768018A326}" type="doc">
      <dgm:prSet loTypeId="urn:microsoft.com/office/officeart/2005/8/layout/hList1" loCatId="list" qsTypeId="urn:microsoft.com/office/officeart/2005/8/quickstyle/simple1" qsCatId="simple" csTypeId="urn:microsoft.com/office/officeart/2005/8/colors/accent4_1" csCatId="accent4" phldr="1"/>
      <dgm:spPr/>
      <dgm:t>
        <a:bodyPr/>
        <a:lstStyle/>
        <a:p>
          <a:endParaRPr lang="en-GB"/>
        </a:p>
      </dgm:t>
    </dgm:pt>
    <dgm:pt modelId="{B8ECA83F-F220-4169-81BC-D998C4910515}">
      <dgm:prSet/>
      <dgm:spPr/>
      <dgm:t>
        <a:bodyPr/>
        <a:lstStyle/>
        <a:p>
          <a:pPr rtl="0"/>
          <a:r>
            <a:rPr lang="en-GB" b="1" dirty="0" smtClean="0"/>
            <a:t>There are </a:t>
          </a:r>
          <a:r>
            <a:rPr lang="en-GB" b="1" dirty="0" smtClean="0"/>
            <a:t>qualities which you could not go through the oracy curriculum without picking up. For instance:</a:t>
          </a:r>
          <a:endParaRPr lang="en-GB" dirty="0"/>
        </a:p>
      </dgm:t>
    </dgm:pt>
    <dgm:pt modelId="{DD61EC40-04D3-4F9D-98FC-57A9C98BDE03}" type="parTrans" cxnId="{E2317254-E711-4DC4-AAAF-1B1EDE006E63}">
      <dgm:prSet/>
      <dgm:spPr/>
      <dgm:t>
        <a:bodyPr/>
        <a:lstStyle/>
        <a:p>
          <a:endParaRPr lang="en-GB"/>
        </a:p>
      </dgm:t>
    </dgm:pt>
    <dgm:pt modelId="{4B1474F0-B621-437D-A18D-258BE8F500E0}" type="sibTrans" cxnId="{E2317254-E711-4DC4-AAAF-1B1EDE006E63}">
      <dgm:prSet/>
      <dgm:spPr/>
      <dgm:t>
        <a:bodyPr/>
        <a:lstStyle/>
        <a:p>
          <a:endParaRPr lang="en-GB"/>
        </a:p>
      </dgm:t>
    </dgm:pt>
    <dgm:pt modelId="{846A4306-7DAA-46EF-8379-17E0ED0740FE}">
      <dgm:prSet/>
      <dgm:spPr/>
      <dgm:t>
        <a:bodyPr/>
        <a:lstStyle/>
        <a:p>
          <a:pPr rtl="0"/>
          <a:r>
            <a:rPr lang="en-GB" smtClean="0"/>
            <a:t>Flexibility and adaptability</a:t>
          </a:r>
          <a:endParaRPr lang="en-GB"/>
        </a:p>
      </dgm:t>
    </dgm:pt>
    <dgm:pt modelId="{FAD29A3F-E4BD-49BE-9E00-D1B78353988B}" type="parTrans" cxnId="{CA903B04-8465-46AE-803F-5A6F6C10D07C}">
      <dgm:prSet/>
      <dgm:spPr/>
      <dgm:t>
        <a:bodyPr/>
        <a:lstStyle/>
        <a:p>
          <a:endParaRPr lang="en-GB"/>
        </a:p>
      </dgm:t>
    </dgm:pt>
    <dgm:pt modelId="{39C3639C-7521-4365-85A4-0FF93A87C28F}" type="sibTrans" cxnId="{CA903B04-8465-46AE-803F-5A6F6C10D07C}">
      <dgm:prSet/>
      <dgm:spPr/>
      <dgm:t>
        <a:bodyPr/>
        <a:lstStyle/>
        <a:p>
          <a:endParaRPr lang="en-GB"/>
        </a:p>
      </dgm:t>
    </dgm:pt>
    <dgm:pt modelId="{7FC7252D-9BD7-4CAB-991B-7F92EAA2D250}">
      <dgm:prSet/>
      <dgm:spPr/>
      <dgm:t>
        <a:bodyPr/>
        <a:lstStyle/>
        <a:p>
          <a:pPr rtl="0"/>
          <a:r>
            <a:rPr lang="en-GB" smtClean="0"/>
            <a:t>Situational awareness</a:t>
          </a:r>
          <a:endParaRPr lang="en-GB"/>
        </a:p>
      </dgm:t>
    </dgm:pt>
    <dgm:pt modelId="{0286E958-8BB5-45C4-BAD4-B9F6919AD045}" type="parTrans" cxnId="{866F18A9-EE4F-41B3-92D8-7F70CE42C815}">
      <dgm:prSet/>
      <dgm:spPr/>
      <dgm:t>
        <a:bodyPr/>
        <a:lstStyle/>
        <a:p>
          <a:endParaRPr lang="en-GB"/>
        </a:p>
      </dgm:t>
    </dgm:pt>
    <dgm:pt modelId="{1EC66282-F641-43B7-B254-894DDF24C9D2}" type="sibTrans" cxnId="{866F18A9-EE4F-41B3-92D8-7F70CE42C815}">
      <dgm:prSet/>
      <dgm:spPr/>
      <dgm:t>
        <a:bodyPr/>
        <a:lstStyle/>
        <a:p>
          <a:endParaRPr lang="en-GB"/>
        </a:p>
      </dgm:t>
    </dgm:pt>
    <dgm:pt modelId="{FA0FFE0F-1C4B-40D2-9DEF-E54513EDE2DD}">
      <dgm:prSet/>
      <dgm:spPr/>
      <dgm:t>
        <a:bodyPr/>
        <a:lstStyle/>
        <a:p>
          <a:pPr rtl="0"/>
          <a:r>
            <a:rPr lang="en-GB" smtClean="0"/>
            <a:t>Confidence</a:t>
          </a:r>
          <a:endParaRPr lang="en-GB"/>
        </a:p>
      </dgm:t>
    </dgm:pt>
    <dgm:pt modelId="{C76C3C2F-04B0-49F0-96F3-4B1A022C8F4E}" type="parTrans" cxnId="{FCC470F6-CA67-48E9-8CB6-D8E77481270F}">
      <dgm:prSet/>
      <dgm:spPr/>
      <dgm:t>
        <a:bodyPr/>
        <a:lstStyle/>
        <a:p>
          <a:endParaRPr lang="en-GB"/>
        </a:p>
      </dgm:t>
    </dgm:pt>
    <dgm:pt modelId="{8A74DF24-730D-46FF-8856-C0C6D25A8BF1}" type="sibTrans" cxnId="{FCC470F6-CA67-48E9-8CB6-D8E77481270F}">
      <dgm:prSet/>
      <dgm:spPr/>
      <dgm:t>
        <a:bodyPr/>
        <a:lstStyle/>
        <a:p>
          <a:endParaRPr lang="en-GB"/>
        </a:p>
      </dgm:t>
    </dgm:pt>
    <dgm:pt modelId="{9D1D1DB7-FFDA-4B41-8976-7D3B6AE425C2}">
      <dgm:prSet/>
      <dgm:spPr/>
      <dgm:t>
        <a:bodyPr/>
        <a:lstStyle/>
        <a:p>
          <a:pPr rtl="0"/>
          <a:r>
            <a:rPr lang="en-GB" smtClean="0"/>
            <a:t>Active participation in discussion</a:t>
          </a:r>
          <a:endParaRPr lang="en-GB"/>
        </a:p>
      </dgm:t>
    </dgm:pt>
    <dgm:pt modelId="{CCF73EAA-CED6-48EC-A473-E7A99F382D40}" type="parTrans" cxnId="{A9FB4C98-7B08-44A1-A764-F19CD7D4698B}">
      <dgm:prSet/>
      <dgm:spPr/>
      <dgm:t>
        <a:bodyPr/>
        <a:lstStyle/>
        <a:p>
          <a:endParaRPr lang="en-GB"/>
        </a:p>
      </dgm:t>
    </dgm:pt>
    <dgm:pt modelId="{641D9E13-DE05-4A6B-AA8C-1A33AE81577C}" type="sibTrans" cxnId="{A9FB4C98-7B08-44A1-A764-F19CD7D4698B}">
      <dgm:prSet/>
      <dgm:spPr/>
      <dgm:t>
        <a:bodyPr/>
        <a:lstStyle/>
        <a:p>
          <a:endParaRPr lang="en-GB"/>
        </a:p>
      </dgm:t>
    </dgm:pt>
    <dgm:pt modelId="{C3572320-8D11-4547-A0F7-0A4215F738BF}">
      <dgm:prSet/>
      <dgm:spPr/>
      <dgm:t>
        <a:bodyPr/>
        <a:lstStyle/>
        <a:p>
          <a:pPr rtl="0"/>
          <a:r>
            <a:rPr lang="en-GB" b="1" dirty="0" smtClean="0"/>
            <a:t>There are things which you would want someone with good oracy to be able to do, but in order to do them they would use the skills set out in the framework. They could form learning objectives in the curriculum. For instance:</a:t>
          </a:r>
          <a:endParaRPr lang="en-GB" dirty="0"/>
        </a:p>
      </dgm:t>
    </dgm:pt>
    <dgm:pt modelId="{E6E7AD15-546E-46E9-AA97-544003E04789}" type="parTrans" cxnId="{422995B5-C285-4893-A20C-CA04C0E93DD3}">
      <dgm:prSet/>
      <dgm:spPr/>
      <dgm:t>
        <a:bodyPr/>
        <a:lstStyle/>
        <a:p>
          <a:endParaRPr lang="en-GB"/>
        </a:p>
      </dgm:t>
    </dgm:pt>
    <dgm:pt modelId="{BA49083B-0A8D-464D-BDFD-B307C3DE253D}" type="sibTrans" cxnId="{422995B5-C285-4893-A20C-CA04C0E93DD3}">
      <dgm:prSet/>
      <dgm:spPr/>
      <dgm:t>
        <a:bodyPr/>
        <a:lstStyle/>
        <a:p>
          <a:endParaRPr lang="en-GB"/>
        </a:p>
      </dgm:t>
    </dgm:pt>
    <dgm:pt modelId="{A4D46DEB-435F-4549-A92D-D9D238E2CB4D}">
      <dgm:prSet/>
      <dgm:spPr/>
      <dgm:t>
        <a:bodyPr/>
        <a:lstStyle/>
        <a:p>
          <a:pPr rtl="0"/>
          <a:r>
            <a:rPr lang="en-GB" dirty="0" smtClean="0"/>
            <a:t>Starting and maintaining a conversation</a:t>
          </a:r>
          <a:endParaRPr lang="en-GB" dirty="0"/>
        </a:p>
      </dgm:t>
    </dgm:pt>
    <dgm:pt modelId="{E2D98FA4-CA34-4973-A279-BB716FCE7098}" type="parTrans" cxnId="{65E3C261-2F4C-4186-BD27-8873179E95D0}">
      <dgm:prSet/>
      <dgm:spPr/>
      <dgm:t>
        <a:bodyPr/>
        <a:lstStyle/>
        <a:p>
          <a:endParaRPr lang="en-GB"/>
        </a:p>
      </dgm:t>
    </dgm:pt>
    <dgm:pt modelId="{90A5FBB1-621F-4889-9933-4D3FAF17B03F}" type="sibTrans" cxnId="{65E3C261-2F4C-4186-BD27-8873179E95D0}">
      <dgm:prSet/>
      <dgm:spPr/>
      <dgm:t>
        <a:bodyPr/>
        <a:lstStyle/>
        <a:p>
          <a:endParaRPr lang="en-GB"/>
        </a:p>
      </dgm:t>
    </dgm:pt>
    <dgm:pt modelId="{7F27A2B4-F9C2-4685-BFAA-7355CB67D8EB}">
      <dgm:prSet/>
      <dgm:spPr/>
      <dgm:t>
        <a:bodyPr/>
        <a:lstStyle/>
        <a:p>
          <a:pPr rtl="0"/>
          <a:r>
            <a:rPr lang="en-GB" smtClean="0"/>
            <a:t>Facing an unfamiliar audience</a:t>
          </a:r>
          <a:endParaRPr lang="en-GB"/>
        </a:p>
      </dgm:t>
    </dgm:pt>
    <dgm:pt modelId="{92012B05-1376-4ABD-9009-74BC68E26535}" type="parTrans" cxnId="{EC3A2B6A-76CF-4ABB-AC71-01F516192BF7}">
      <dgm:prSet/>
      <dgm:spPr/>
      <dgm:t>
        <a:bodyPr/>
        <a:lstStyle/>
        <a:p>
          <a:endParaRPr lang="en-GB"/>
        </a:p>
      </dgm:t>
    </dgm:pt>
    <dgm:pt modelId="{65E9F725-17AE-4BA0-8B98-82A7554BD8DB}" type="sibTrans" cxnId="{EC3A2B6A-76CF-4ABB-AC71-01F516192BF7}">
      <dgm:prSet/>
      <dgm:spPr/>
      <dgm:t>
        <a:bodyPr/>
        <a:lstStyle/>
        <a:p>
          <a:endParaRPr lang="en-GB"/>
        </a:p>
      </dgm:t>
    </dgm:pt>
    <dgm:pt modelId="{CD488410-4726-48A3-A309-98877218576D}">
      <dgm:prSet/>
      <dgm:spPr/>
      <dgm:t>
        <a:bodyPr/>
        <a:lstStyle/>
        <a:p>
          <a:pPr rtl="0"/>
          <a:r>
            <a:rPr lang="en-GB" smtClean="0"/>
            <a:t>Persuading</a:t>
          </a:r>
          <a:endParaRPr lang="en-GB"/>
        </a:p>
      </dgm:t>
    </dgm:pt>
    <dgm:pt modelId="{59FF22A4-165B-45CF-B72B-3C7068000C22}" type="parTrans" cxnId="{C7067CAD-FE77-472C-AE05-46A807457EB2}">
      <dgm:prSet/>
      <dgm:spPr/>
      <dgm:t>
        <a:bodyPr/>
        <a:lstStyle/>
        <a:p>
          <a:endParaRPr lang="en-GB"/>
        </a:p>
      </dgm:t>
    </dgm:pt>
    <dgm:pt modelId="{2E9DA273-261D-4326-B873-2925268820D5}" type="sibTrans" cxnId="{C7067CAD-FE77-472C-AE05-46A807457EB2}">
      <dgm:prSet/>
      <dgm:spPr/>
      <dgm:t>
        <a:bodyPr/>
        <a:lstStyle/>
        <a:p>
          <a:endParaRPr lang="en-GB"/>
        </a:p>
      </dgm:t>
    </dgm:pt>
    <dgm:pt modelId="{20A83D8B-2EBC-48D5-AF69-C44EE5352B9C}" type="pres">
      <dgm:prSet presAssocID="{ECBCF505-FF9B-4463-A8A5-01768018A326}" presName="Name0" presStyleCnt="0">
        <dgm:presLayoutVars>
          <dgm:dir/>
          <dgm:animLvl val="lvl"/>
          <dgm:resizeHandles val="exact"/>
        </dgm:presLayoutVars>
      </dgm:prSet>
      <dgm:spPr/>
      <dgm:t>
        <a:bodyPr/>
        <a:lstStyle/>
        <a:p>
          <a:endParaRPr lang="en-GB"/>
        </a:p>
      </dgm:t>
    </dgm:pt>
    <dgm:pt modelId="{621D858F-2547-4E49-97D2-EFE8E6D304F9}" type="pres">
      <dgm:prSet presAssocID="{B8ECA83F-F220-4169-81BC-D998C4910515}" presName="composite" presStyleCnt="0"/>
      <dgm:spPr/>
      <dgm:t>
        <a:bodyPr/>
        <a:lstStyle/>
        <a:p>
          <a:endParaRPr lang="en-GB"/>
        </a:p>
      </dgm:t>
    </dgm:pt>
    <dgm:pt modelId="{BDD412B7-1F99-4587-BB5D-7F44992223A7}" type="pres">
      <dgm:prSet presAssocID="{B8ECA83F-F220-4169-81BC-D998C4910515}" presName="parTx" presStyleLbl="alignNode1" presStyleIdx="0" presStyleCnt="2">
        <dgm:presLayoutVars>
          <dgm:chMax val="0"/>
          <dgm:chPref val="0"/>
          <dgm:bulletEnabled val="1"/>
        </dgm:presLayoutVars>
      </dgm:prSet>
      <dgm:spPr/>
      <dgm:t>
        <a:bodyPr/>
        <a:lstStyle/>
        <a:p>
          <a:endParaRPr lang="en-GB"/>
        </a:p>
      </dgm:t>
    </dgm:pt>
    <dgm:pt modelId="{C04D0C27-2AC6-4983-BFE5-4FD521ED510A}" type="pres">
      <dgm:prSet presAssocID="{B8ECA83F-F220-4169-81BC-D998C4910515}" presName="desTx" presStyleLbl="alignAccFollowNode1" presStyleIdx="0" presStyleCnt="2">
        <dgm:presLayoutVars>
          <dgm:bulletEnabled val="1"/>
        </dgm:presLayoutVars>
      </dgm:prSet>
      <dgm:spPr/>
      <dgm:t>
        <a:bodyPr/>
        <a:lstStyle/>
        <a:p>
          <a:endParaRPr lang="en-GB"/>
        </a:p>
      </dgm:t>
    </dgm:pt>
    <dgm:pt modelId="{17CEAB6C-0F0A-4294-B87C-AA6B7E610338}" type="pres">
      <dgm:prSet presAssocID="{4B1474F0-B621-437D-A18D-258BE8F500E0}" presName="space" presStyleCnt="0"/>
      <dgm:spPr/>
      <dgm:t>
        <a:bodyPr/>
        <a:lstStyle/>
        <a:p>
          <a:endParaRPr lang="en-GB"/>
        </a:p>
      </dgm:t>
    </dgm:pt>
    <dgm:pt modelId="{EDA02DA6-3EB4-4843-B0ED-05A4633C28CB}" type="pres">
      <dgm:prSet presAssocID="{C3572320-8D11-4547-A0F7-0A4215F738BF}" presName="composite" presStyleCnt="0"/>
      <dgm:spPr/>
      <dgm:t>
        <a:bodyPr/>
        <a:lstStyle/>
        <a:p>
          <a:endParaRPr lang="en-GB"/>
        </a:p>
      </dgm:t>
    </dgm:pt>
    <dgm:pt modelId="{70F659DF-F9B1-4E76-B02C-9D1E56DBFF46}" type="pres">
      <dgm:prSet presAssocID="{C3572320-8D11-4547-A0F7-0A4215F738BF}" presName="parTx" presStyleLbl="alignNode1" presStyleIdx="1" presStyleCnt="2">
        <dgm:presLayoutVars>
          <dgm:chMax val="0"/>
          <dgm:chPref val="0"/>
          <dgm:bulletEnabled val="1"/>
        </dgm:presLayoutVars>
      </dgm:prSet>
      <dgm:spPr/>
      <dgm:t>
        <a:bodyPr/>
        <a:lstStyle/>
        <a:p>
          <a:endParaRPr lang="en-GB"/>
        </a:p>
      </dgm:t>
    </dgm:pt>
    <dgm:pt modelId="{91CBDC5C-CC8E-470F-A68C-1F2B663DB02A}" type="pres">
      <dgm:prSet presAssocID="{C3572320-8D11-4547-A0F7-0A4215F738BF}" presName="desTx" presStyleLbl="alignAccFollowNode1" presStyleIdx="1" presStyleCnt="2">
        <dgm:presLayoutVars>
          <dgm:bulletEnabled val="1"/>
        </dgm:presLayoutVars>
      </dgm:prSet>
      <dgm:spPr/>
      <dgm:t>
        <a:bodyPr/>
        <a:lstStyle/>
        <a:p>
          <a:endParaRPr lang="en-GB"/>
        </a:p>
      </dgm:t>
    </dgm:pt>
  </dgm:ptLst>
  <dgm:cxnLst>
    <dgm:cxn modelId="{E2317254-E711-4DC4-AAAF-1B1EDE006E63}" srcId="{ECBCF505-FF9B-4463-A8A5-01768018A326}" destId="{B8ECA83F-F220-4169-81BC-D998C4910515}" srcOrd="0" destOrd="0" parTransId="{DD61EC40-04D3-4F9D-98FC-57A9C98BDE03}" sibTransId="{4B1474F0-B621-437D-A18D-258BE8F500E0}"/>
    <dgm:cxn modelId="{CA903B04-8465-46AE-803F-5A6F6C10D07C}" srcId="{B8ECA83F-F220-4169-81BC-D998C4910515}" destId="{846A4306-7DAA-46EF-8379-17E0ED0740FE}" srcOrd="0" destOrd="0" parTransId="{FAD29A3F-E4BD-49BE-9E00-D1B78353988B}" sibTransId="{39C3639C-7521-4365-85A4-0FF93A87C28F}"/>
    <dgm:cxn modelId="{34752F07-2096-4ADC-9C80-C72E49CF9D02}" type="presOf" srcId="{7FC7252D-9BD7-4CAB-991B-7F92EAA2D250}" destId="{C04D0C27-2AC6-4983-BFE5-4FD521ED510A}" srcOrd="0" destOrd="1" presId="urn:microsoft.com/office/officeart/2005/8/layout/hList1"/>
    <dgm:cxn modelId="{866F18A9-EE4F-41B3-92D8-7F70CE42C815}" srcId="{B8ECA83F-F220-4169-81BC-D998C4910515}" destId="{7FC7252D-9BD7-4CAB-991B-7F92EAA2D250}" srcOrd="1" destOrd="0" parTransId="{0286E958-8BB5-45C4-BAD4-B9F6919AD045}" sibTransId="{1EC66282-F641-43B7-B254-894DDF24C9D2}"/>
    <dgm:cxn modelId="{CAA75207-9BB8-4831-ADA6-5AF5A998B124}" type="presOf" srcId="{846A4306-7DAA-46EF-8379-17E0ED0740FE}" destId="{C04D0C27-2AC6-4983-BFE5-4FD521ED510A}" srcOrd="0" destOrd="0" presId="urn:microsoft.com/office/officeart/2005/8/layout/hList1"/>
    <dgm:cxn modelId="{1D4C5F03-D6D4-49B2-853B-CEE0B9BFBB48}" type="presOf" srcId="{FA0FFE0F-1C4B-40D2-9DEF-E54513EDE2DD}" destId="{C04D0C27-2AC6-4983-BFE5-4FD521ED510A}" srcOrd="0" destOrd="2" presId="urn:microsoft.com/office/officeart/2005/8/layout/hList1"/>
    <dgm:cxn modelId="{CC62A7AC-67F5-4437-BB39-C235BFF9B4F1}" type="presOf" srcId="{ECBCF505-FF9B-4463-A8A5-01768018A326}" destId="{20A83D8B-2EBC-48D5-AF69-C44EE5352B9C}" srcOrd="0" destOrd="0" presId="urn:microsoft.com/office/officeart/2005/8/layout/hList1"/>
    <dgm:cxn modelId="{1A039E66-8119-43F2-B96B-4BF71139C200}" type="presOf" srcId="{9D1D1DB7-FFDA-4B41-8976-7D3B6AE425C2}" destId="{C04D0C27-2AC6-4983-BFE5-4FD521ED510A}" srcOrd="0" destOrd="3" presId="urn:microsoft.com/office/officeart/2005/8/layout/hList1"/>
    <dgm:cxn modelId="{65E3C261-2F4C-4186-BD27-8873179E95D0}" srcId="{C3572320-8D11-4547-A0F7-0A4215F738BF}" destId="{A4D46DEB-435F-4549-A92D-D9D238E2CB4D}" srcOrd="0" destOrd="0" parTransId="{E2D98FA4-CA34-4973-A279-BB716FCE7098}" sibTransId="{90A5FBB1-621F-4889-9933-4D3FAF17B03F}"/>
    <dgm:cxn modelId="{C7067CAD-FE77-472C-AE05-46A807457EB2}" srcId="{C3572320-8D11-4547-A0F7-0A4215F738BF}" destId="{CD488410-4726-48A3-A309-98877218576D}" srcOrd="2" destOrd="0" parTransId="{59FF22A4-165B-45CF-B72B-3C7068000C22}" sibTransId="{2E9DA273-261D-4326-B873-2925268820D5}"/>
    <dgm:cxn modelId="{F23AD5BA-148B-4F96-A700-F7B3C66C7BD5}" type="presOf" srcId="{B8ECA83F-F220-4169-81BC-D998C4910515}" destId="{BDD412B7-1F99-4587-BB5D-7F44992223A7}" srcOrd="0" destOrd="0" presId="urn:microsoft.com/office/officeart/2005/8/layout/hList1"/>
    <dgm:cxn modelId="{422995B5-C285-4893-A20C-CA04C0E93DD3}" srcId="{ECBCF505-FF9B-4463-A8A5-01768018A326}" destId="{C3572320-8D11-4547-A0F7-0A4215F738BF}" srcOrd="1" destOrd="0" parTransId="{E6E7AD15-546E-46E9-AA97-544003E04789}" sibTransId="{BA49083B-0A8D-464D-BDFD-B307C3DE253D}"/>
    <dgm:cxn modelId="{FCC470F6-CA67-48E9-8CB6-D8E77481270F}" srcId="{B8ECA83F-F220-4169-81BC-D998C4910515}" destId="{FA0FFE0F-1C4B-40D2-9DEF-E54513EDE2DD}" srcOrd="2" destOrd="0" parTransId="{C76C3C2F-04B0-49F0-96F3-4B1A022C8F4E}" sibTransId="{8A74DF24-730D-46FF-8856-C0C6D25A8BF1}"/>
    <dgm:cxn modelId="{546BD20D-6AF8-49DF-9D1C-FC48C090010A}" type="presOf" srcId="{C3572320-8D11-4547-A0F7-0A4215F738BF}" destId="{70F659DF-F9B1-4E76-B02C-9D1E56DBFF46}" srcOrd="0" destOrd="0" presId="urn:microsoft.com/office/officeart/2005/8/layout/hList1"/>
    <dgm:cxn modelId="{A9FB4C98-7B08-44A1-A764-F19CD7D4698B}" srcId="{B8ECA83F-F220-4169-81BC-D998C4910515}" destId="{9D1D1DB7-FFDA-4B41-8976-7D3B6AE425C2}" srcOrd="3" destOrd="0" parTransId="{CCF73EAA-CED6-48EC-A473-E7A99F382D40}" sibTransId="{641D9E13-DE05-4A6B-AA8C-1A33AE81577C}"/>
    <dgm:cxn modelId="{819F0005-C2F7-4DB5-9B29-35FBA0B1C718}" type="presOf" srcId="{7F27A2B4-F9C2-4685-BFAA-7355CB67D8EB}" destId="{91CBDC5C-CC8E-470F-A68C-1F2B663DB02A}" srcOrd="0" destOrd="1" presId="urn:microsoft.com/office/officeart/2005/8/layout/hList1"/>
    <dgm:cxn modelId="{349CBAF7-3F5B-4736-BCAD-20451B828A3D}" type="presOf" srcId="{CD488410-4726-48A3-A309-98877218576D}" destId="{91CBDC5C-CC8E-470F-A68C-1F2B663DB02A}" srcOrd="0" destOrd="2" presId="urn:microsoft.com/office/officeart/2005/8/layout/hList1"/>
    <dgm:cxn modelId="{EC3A2B6A-76CF-4ABB-AC71-01F516192BF7}" srcId="{C3572320-8D11-4547-A0F7-0A4215F738BF}" destId="{7F27A2B4-F9C2-4685-BFAA-7355CB67D8EB}" srcOrd="1" destOrd="0" parTransId="{92012B05-1376-4ABD-9009-74BC68E26535}" sibTransId="{65E9F725-17AE-4BA0-8B98-82A7554BD8DB}"/>
    <dgm:cxn modelId="{5C6E919B-FBA2-4815-8F3C-8938290D148E}" type="presOf" srcId="{A4D46DEB-435F-4549-A92D-D9D238E2CB4D}" destId="{91CBDC5C-CC8E-470F-A68C-1F2B663DB02A}" srcOrd="0" destOrd="0" presId="urn:microsoft.com/office/officeart/2005/8/layout/hList1"/>
    <dgm:cxn modelId="{E24C39EE-2F5C-434E-84ED-753BB4C88313}" type="presParOf" srcId="{20A83D8B-2EBC-48D5-AF69-C44EE5352B9C}" destId="{621D858F-2547-4E49-97D2-EFE8E6D304F9}" srcOrd="0" destOrd="0" presId="urn:microsoft.com/office/officeart/2005/8/layout/hList1"/>
    <dgm:cxn modelId="{E558D394-4ED8-44E4-BAE9-D43612DA779F}" type="presParOf" srcId="{621D858F-2547-4E49-97D2-EFE8E6D304F9}" destId="{BDD412B7-1F99-4587-BB5D-7F44992223A7}" srcOrd="0" destOrd="0" presId="urn:microsoft.com/office/officeart/2005/8/layout/hList1"/>
    <dgm:cxn modelId="{9ADE4553-F155-45B7-A482-B5640F610709}" type="presParOf" srcId="{621D858F-2547-4E49-97D2-EFE8E6D304F9}" destId="{C04D0C27-2AC6-4983-BFE5-4FD521ED510A}" srcOrd="1" destOrd="0" presId="urn:microsoft.com/office/officeart/2005/8/layout/hList1"/>
    <dgm:cxn modelId="{2DDEB378-93D8-433F-907F-6DC607BFA701}" type="presParOf" srcId="{20A83D8B-2EBC-48D5-AF69-C44EE5352B9C}" destId="{17CEAB6C-0F0A-4294-B87C-AA6B7E610338}" srcOrd="1" destOrd="0" presId="urn:microsoft.com/office/officeart/2005/8/layout/hList1"/>
    <dgm:cxn modelId="{123E7374-84C6-4060-8CDF-60B1B82B71A2}" type="presParOf" srcId="{20A83D8B-2EBC-48D5-AF69-C44EE5352B9C}" destId="{EDA02DA6-3EB4-4843-B0ED-05A4633C28CB}" srcOrd="2" destOrd="0" presId="urn:microsoft.com/office/officeart/2005/8/layout/hList1"/>
    <dgm:cxn modelId="{F72F516A-F865-4942-816F-7E91C9705B56}" type="presParOf" srcId="{EDA02DA6-3EB4-4843-B0ED-05A4633C28CB}" destId="{70F659DF-F9B1-4E76-B02C-9D1E56DBFF46}" srcOrd="0" destOrd="0" presId="urn:microsoft.com/office/officeart/2005/8/layout/hList1"/>
    <dgm:cxn modelId="{5B235FFA-4360-4C43-A88E-64CE5605B02D}" type="presParOf" srcId="{EDA02DA6-3EB4-4843-B0ED-05A4633C28CB}" destId="{91CBDC5C-CC8E-470F-A68C-1F2B663DB02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836072D-0FFF-49F4-8831-E7D4535ABE38}" type="doc">
      <dgm:prSet loTypeId="urn:diagrams.loki3.com/BracketList+Icon" loCatId="list" qsTypeId="urn:microsoft.com/office/officeart/2005/8/quickstyle/simple1" qsCatId="simple" csTypeId="urn:microsoft.com/office/officeart/2005/8/colors/accent4_2" csCatId="accent4" phldr="1"/>
      <dgm:spPr/>
      <dgm:t>
        <a:bodyPr/>
        <a:lstStyle/>
        <a:p>
          <a:endParaRPr lang="en-GB"/>
        </a:p>
      </dgm:t>
    </dgm:pt>
    <dgm:pt modelId="{ACE2D283-19BD-4AA3-AC20-FCD8702D1365}">
      <dgm:prSet/>
      <dgm:spPr/>
      <dgm:t>
        <a:bodyPr/>
        <a:lstStyle/>
        <a:p>
          <a:pPr rtl="0"/>
          <a:r>
            <a:rPr lang="en-GB" b="1" dirty="0" smtClean="0"/>
            <a:t>Production features</a:t>
          </a:r>
          <a:endParaRPr lang="en-GB" dirty="0"/>
        </a:p>
      </dgm:t>
    </dgm:pt>
    <dgm:pt modelId="{D69BD37D-1940-4676-A720-D5661D265E5B}" type="parTrans" cxnId="{21D9BF5E-8ABF-4969-B924-452A1700B952}">
      <dgm:prSet/>
      <dgm:spPr/>
      <dgm:t>
        <a:bodyPr/>
        <a:lstStyle/>
        <a:p>
          <a:endParaRPr lang="en-GB"/>
        </a:p>
      </dgm:t>
    </dgm:pt>
    <dgm:pt modelId="{3ADA7E13-5B11-4FEF-B5D0-094079804E56}" type="sibTrans" cxnId="{21D9BF5E-8ABF-4969-B924-452A1700B952}">
      <dgm:prSet/>
      <dgm:spPr/>
      <dgm:t>
        <a:bodyPr/>
        <a:lstStyle/>
        <a:p>
          <a:endParaRPr lang="en-GB"/>
        </a:p>
      </dgm:t>
    </dgm:pt>
    <dgm:pt modelId="{93DC6443-76B0-4A7B-8A0F-CD315F8D1D90}">
      <dgm:prSet/>
      <dgm:spPr/>
      <dgm:t>
        <a:bodyPr/>
        <a:lstStyle/>
        <a:p>
          <a:pPr rtl="0"/>
          <a:r>
            <a:rPr lang="en-GB" dirty="0" smtClean="0"/>
            <a:t>These are to do with overcoming obstacles to expression: volume, enunciation, etc. ‘Production’ is intended to emphasise how these are skills of voice production, as distinct from intention.</a:t>
          </a:r>
          <a:endParaRPr lang="en-GB" dirty="0"/>
        </a:p>
      </dgm:t>
    </dgm:pt>
    <dgm:pt modelId="{95CB87A7-8462-4AED-97E9-D83FD3EEE55F}" type="parTrans" cxnId="{D15D9382-6E08-4959-9152-E250A94977CD}">
      <dgm:prSet/>
      <dgm:spPr/>
      <dgm:t>
        <a:bodyPr/>
        <a:lstStyle/>
        <a:p>
          <a:endParaRPr lang="en-GB"/>
        </a:p>
      </dgm:t>
    </dgm:pt>
    <dgm:pt modelId="{B989C116-19A8-418C-BDED-076CCAFC3F80}" type="sibTrans" cxnId="{D15D9382-6E08-4959-9152-E250A94977CD}">
      <dgm:prSet/>
      <dgm:spPr/>
      <dgm:t>
        <a:bodyPr/>
        <a:lstStyle/>
        <a:p>
          <a:endParaRPr lang="en-GB"/>
        </a:p>
      </dgm:t>
    </dgm:pt>
    <dgm:pt modelId="{28EDC1E5-0D5B-4E19-AAC4-6BB744513FFD}">
      <dgm:prSet/>
      <dgm:spPr/>
      <dgm:t>
        <a:bodyPr/>
        <a:lstStyle/>
        <a:p>
          <a:pPr rtl="0"/>
          <a:r>
            <a:rPr lang="en-GB" b="1" smtClean="0"/>
            <a:t>Use</a:t>
          </a:r>
          <a:endParaRPr lang="en-GB"/>
        </a:p>
      </dgm:t>
    </dgm:pt>
    <dgm:pt modelId="{5E708450-D2E1-4C93-A26F-8637E293BA31}" type="parTrans" cxnId="{0A4AC858-C8CC-4F93-9118-84E179653DD4}">
      <dgm:prSet/>
      <dgm:spPr/>
      <dgm:t>
        <a:bodyPr/>
        <a:lstStyle/>
        <a:p>
          <a:endParaRPr lang="en-GB"/>
        </a:p>
      </dgm:t>
    </dgm:pt>
    <dgm:pt modelId="{E2D396F6-C110-4250-95D2-80DF0B582F65}" type="sibTrans" cxnId="{0A4AC858-C8CC-4F93-9118-84E179653DD4}">
      <dgm:prSet/>
      <dgm:spPr/>
      <dgm:t>
        <a:bodyPr/>
        <a:lstStyle/>
        <a:p>
          <a:endParaRPr lang="en-GB"/>
        </a:p>
      </dgm:t>
    </dgm:pt>
    <dgm:pt modelId="{AEDF389E-8F3E-4040-8934-064A024AC877}">
      <dgm:prSet/>
      <dgm:spPr/>
      <dgm:t>
        <a:bodyPr/>
        <a:lstStyle/>
        <a:p>
          <a:pPr rtl="0"/>
          <a:r>
            <a:rPr lang="en-GB" smtClean="0"/>
            <a:t>The choice a speaker makes of vocabulary, syntax, etc. Distinct from knowledge of these things.</a:t>
          </a:r>
          <a:endParaRPr lang="en-GB"/>
        </a:p>
      </dgm:t>
    </dgm:pt>
    <dgm:pt modelId="{340A6F3B-766E-4134-A200-A600A4496211}" type="parTrans" cxnId="{7E5B03D6-8D61-4B8C-8327-3AF33B23A6C5}">
      <dgm:prSet/>
      <dgm:spPr/>
      <dgm:t>
        <a:bodyPr/>
        <a:lstStyle/>
        <a:p>
          <a:endParaRPr lang="en-GB"/>
        </a:p>
      </dgm:t>
    </dgm:pt>
    <dgm:pt modelId="{E75F04A3-378D-4D5F-93EF-CD9DF52388ED}" type="sibTrans" cxnId="{7E5B03D6-8D61-4B8C-8327-3AF33B23A6C5}">
      <dgm:prSet/>
      <dgm:spPr/>
      <dgm:t>
        <a:bodyPr/>
        <a:lstStyle/>
        <a:p>
          <a:endParaRPr lang="en-GB"/>
        </a:p>
      </dgm:t>
    </dgm:pt>
    <dgm:pt modelId="{7AAD5E11-DBF6-4F83-9560-9AC27845AD89}">
      <dgm:prSet/>
      <dgm:spPr/>
      <dgm:t>
        <a:bodyPr/>
        <a:lstStyle/>
        <a:p>
          <a:pPr rtl="0"/>
          <a:r>
            <a:rPr lang="en-GB" b="1" smtClean="0"/>
            <a:t>Rhetoric</a:t>
          </a:r>
          <a:endParaRPr lang="en-GB"/>
        </a:p>
      </dgm:t>
    </dgm:pt>
    <dgm:pt modelId="{636CAA35-2602-4E70-89ED-22F40DD3833E}" type="parTrans" cxnId="{067E3595-357B-4B98-A6D1-2EB4FC3BB4D1}">
      <dgm:prSet/>
      <dgm:spPr/>
      <dgm:t>
        <a:bodyPr/>
        <a:lstStyle/>
        <a:p>
          <a:endParaRPr lang="en-GB"/>
        </a:p>
      </dgm:t>
    </dgm:pt>
    <dgm:pt modelId="{402E7C5C-E0D9-4F65-A2A7-3136C017C82D}" type="sibTrans" cxnId="{067E3595-357B-4B98-A6D1-2EB4FC3BB4D1}">
      <dgm:prSet/>
      <dgm:spPr/>
      <dgm:t>
        <a:bodyPr/>
        <a:lstStyle/>
        <a:p>
          <a:endParaRPr lang="en-GB"/>
        </a:p>
      </dgm:t>
    </dgm:pt>
    <dgm:pt modelId="{5FA65C22-0112-4EB4-8C3D-59BB28232394}">
      <dgm:prSet/>
      <dgm:spPr/>
      <dgm:t>
        <a:bodyPr/>
        <a:lstStyle/>
        <a:p>
          <a:pPr rtl="0"/>
          <a:r>
            <a:rPr lang="en-GB" smtClean="0"/>
            <a:t>Taxonomy  for describing units of speech and the application of such units. Traditionally viewed as making language more vivid, effective, emphatic and so on. Rhetoric is a suite of tools for the organisation of language, usually at the level of a phrase, e.g. metaphor, alliteration,  anaphora, etc., all of which are used in everyday speech but which are more pronounced in more formalised utterances.</a:t>
          </a:r>
          <a:endParaRPr lang="en-GB"/>
        </a:p>
      </dgm:t>
    </dgm:pt>
    <dgm:pt modelId="{5AAFBC23-C867-48F6-A137-9B645F609DBB}" type="parTrans" cxnId="{F2147B94-1B32-4B11-A6F1-A04125FFE806}">
      <dgm:prSet/>
      <dgm:spPr/>
      <dgm:t>
        <a:bodyPr/>
        <a:lstStyle/>
        <a:p>
          <a:endParaRPr lang="en-GB"/>
        </a:p>
      </dgm:t>
    </dgm:pt>
    <dgm:pt modelId="{B41760C7-145A-4800-8997-E9CA6B0A6726}" type="sibTrans" cxnId="{F2147B94-1B32-4B11-A6F1-A04125FFE806}">
      <dgm:prSet/>
      <dgm:spPr/>
      <dgm:t>
        <a:bodyPr/>
        <a:lstStyle/>
        <a:p>
          <a:endParaRPr lang="en-GB"/>
        </a:p>
      </dgm:t>
    </dgm:pt>
    <dgm:pt modelId="{D4621751-B1C8-49A3-83A5-AE505C1B62BB}">
      <dgm:prSet/>
      <dgm:spPr/>
      <dgm:t>
        <a:bodyPr/>
        <a:lstStyle/>
        <a:p>
          <a:pPr rtl="0"/>
          <a:r>
            <a:rPr lang="en-GB" b="1" smtClean="0"/>
            <a:t>Structure</a:t>
          </a:r>
          <a:endParaRPr lang="en-GB"/>
        </a:p>
      </dgm:t>
    </dgm:pt>
    <dgm:pt modelId="{98E141BB-E540-46AD-BA74-22E1876B2905}" type="parTrans" cxnId="{76AA8390-404D-4A3C-99D6-C3BF98443652}">
      <dgm:prSet/>
      <dgm:spPr/>
      <dgm:t>
        <a:bodyPr/>
        <a:lstStyle/>
        <a:p>
          <a:endParaRPr lang="en-GB"/>
        </a:p>
      </dgm:t>
    </dgm:pt>
    <dgm:pt modelId="{77C8FF2B-6D6B-4524-B61A-00DA8DD3FE3B}" type="sibTrans" cxnId="{76AA8390-404D-4A3C-99D6-C3BF98443652}">
      <dgm:prSet/>
      <dgm:spPr/>
      <dgm:t>
        <a:bodyPr/>
        <a:lstStyle/>
        <a:p>
          <a:endParaRPr lang="en-GB"/>
        </a:p>
      </dgm:t>
    </dgm:pt>
    <dgm:pt modelId="{856D2071-FF1D-4716-BEE7-D76D1E8D4DEE}">
      <dgm:prSet/>
      <dgm:spPr/>
      <dgm:t>
        <a:bodyPr/>
        <a:lstStyle/>
        <a:p>
          <a:pPr rtl="0"/>
          <a:r>
            <a:rPr lang="en-GB" smtClean="0"/>
            <a:t>An example is beginning, middle and end; a more interesting performance might rearrange this order</a:t>
          </a:r>
          <a:endParaRPr lang="en-GB"/>
        </a:p>
      </dgm:t>
    </dgm:pt>
    <dgm:pt modelId="{EBA83037-8A6B-4034-97D5-5E799E509182}" type="parTrans" cxnId="{D93177CF-BB08-4B0C-8C69-323C50810C92}">
      <dgm:prSet/>
      <dgm:spPr/>
      <dgm:t>
        <a:bodyPr/>
        <a:lstStyle/>
        <a:p>
          <a:endParaRPr lang="en-GB"/>
        </a:p>
      </dgm:t>
    </dgm:pt>
    <dgm:pt modelId="{0D0FCA01-C5AB-45F1-AE59-04DFAFC7B0DE}" type="sibTrans" cxnId="{D93177CF-BB08-4B0C-8C69-323C50810C92}">
      <dgm:prSet/>
      <dgm:spPr/>
      <dgm:t>
        <a:bodyPr/>
        <a:lstStyle/>
        <a:p>
          <a:endParaRPr lang="en-GB"/>
        </a:p>
      </dgm:t>
    </dgm:pt>
    <dgm:pt modelId="{584762EB-6D21-472F-B40F-D8A17477999B}">
      <dgm:prSet/>
      <dgm:spPr/>
      <dgm:t>
        <a:bodyPr/>
        <a:lstStyle/>
        <a:p>
          <a:pPr rtl="0"/>
          <a:r>
            <a:rPr lang="en-GB" b="1" smtClean="0"/>
            <a:t>Argument</a:t>
          </a:r>
          <a:endParaRPr lang="en-GB"/>
        </a:p>
      </dgm:t>
    </dgm:pt>
    <dgm:pt modelId="{78E43C46-27F4-4246-91B4-6A279824ABCD}" type="parTrans" cxnId="{09918602-1082-4508-9F83-BA4C6EF8839E}">
      <dgm:prSet/>
      <dgm:spPr/>
      <dgm:t>
        <a:bodyPr/>
        <a:lstStyle/>
        <a:p>
          <a:endParaRPr lang="en-GB"/>
        </a:p>
      </dgm:t>
    </dgm:pt>
    <dgm:pt modelId="{67794105-113A-4159-9AAE-B2DD08811550}" type="sibTrans" cxnId="{09918602-1082-4508-9F83-BA4C6EF8839E}">
      <dgm:prSet/>
      <dgm:spPr/>
      <dgm:t>
        <a:bodyPr/>
        <a:lstStyle/>
        <a:p>
          <a:endParaRPr lang="en-GB"/>
        </a:p>
      </dgm:t>
    </dgm:pt>
    <dgm:pt modelId="{3862E5FC-9F68-4863-96D0-5768EE12E3E5}">
      <dgm:prSet/>
      <dgm:spPr/>
      <dgm:t>
        <a:bodyPr/>
        <a:lstStyle/>
        <a:p>
          <a:pPr rtl="0"/>
          <a:r>
            <a:rPr lang="en-GB" smtClean="0"/>
            <a:t>Logical validity of what you are saying</a:t>
          </a:r>
          <a:endParaRPr lang="en-GB"/>
        </a:p>
      </dgm:t>
    </dgm:pt>
    <dgm:pt modelId="{7BD5C543-FE23-4635-8919-83F3947D5840}" type="parTrans" cxnId="{CC85BF9B-B8E1-4F2C-BD51-1DECE674E5E9}">
      <dgm:prSet/>
      <dgm:spPr/>
      <dgm:t>
        <a:bodyPr/>
        <a:lstStyle/>
        <a:p>
          <a:endParaRPr lang="en-GB"/>
        </a:p>
      </dgm:t>
    </dgm:pt>
    <dgm:pt modelId="{D11FCDDD-1F42-49DA-A1AD-4479DD2242EB}" type="sibTrans" cxnId="{CC85BF9B-B8E1-4F2C-BD51-1DECE674E5E9}">
      <dgm:prSet/>
      <dgm:spPr/>
      <dgm:t>
        <a:bodyPr/>
        <a:lstStyle/>
        <a:p>
          <a:endParaRPr lang="en-GB"/>
        </a:p>
      </dgm:t>
    </dgm:pt>
    <dgm:pt modelId="{B616999F-1086-4D8D-AA34-15CA874A4397}">
      <dgm:prSet/>
      <dgm:spPr/>
      <dgm:t>
        <a:bodyPr/>
        <a:lstStyle/>
        <a:p>
          <a:pPr rtl="0"/>
          <a:r>
            <a:rPr lang="en-GB" b="1" smtClean="0"/>
            <a:t>Turn-taking</a:t>
          </a:r>
          <a:endParaRPr lang="en-GB"/>
        </a:p>
      </dgm:t>
    </dgm:pt>
    <dgm:pt modelId="{F430E35E-FBDB-4BC7-AA4D-55B91E00D02A}" type="parTrans" cxnId="{ACA00F55-8368-495B-9C37-97FE5EB8C3A8}">
      <dgm:prSet/>
      <dgm:spPr/>
      <dgm:t>
        <a:bodyPr/>
        <a:lstStyle/>
        <a:p>
          <a:endParaRPr lang="en-GB"/>
        </a:p>
      </dgm:t>
    </dgm:pt>
    <dgm:pt modelId="{C05AFC79-2917-4F4F-B447-057BE372966F}" type="sibTrans" cxnId="{ACA00F55-8368-495B-9C37-97FE5EB8C3A8}">
      <dgm:prSet/>
      <dgm:spPr/>
      <dgm:t>
        <a:bodyPr/>
        <a:lstStyle/>
        <a:p>
          <a:endParaRPr lang="en-GB"/>
        </a:p>
      </dgm:t>
    </dgm:pt>
    <dgm:pt modelId="{494EF345-FEE7-4D81-A79E-AB46118DC174}">
      <dgm:prSet/>
      <dgm:spPr/>
      <dgm:t>
        <a:bodyPr/>
        <a:lstStyle/>
        <a:p>
          <a:pPr rtl="0"/>
          <a:r>
            <a:rPr lang="en-GB" smtClean="0"/>
            <a:t>‘Turns-at-talk’ refers to how we know when one segment of a conversation has ended and another can legitimately begin. It is more fundamental than politeness, more like the vocal equivalent for how even in the busiest streets people don’t bump into each other.</a:t>
          </a:r>
          <a:endParaRPr lang="en-GB"/>
        </a:p>
      </dgm:t>
    </dgm:pt>
    <dgm:pt modelId="{7677B563-7E42-48D7-BE82-F9F60ECFD1DB}" type="parTrans" cxnId="{40ADE986-6BC9-4951-BD0E-CA79642F4A23}">
      <dgm:prSet/>
      <dgm:spPr/>
      <dgm:t>
        <a:bodyPr/>
        <a:lstStyle/>
        <a:p>
          <a:endParaRPr lang="en-GB"/>
        </a:p>
      </dgm:t>
    </dgm:pt>
    <dgm:pt modelId="{8CB19FD5-9B2B-41B2-98F3-860323AAB701}" type="sibTrans" cxnId="{40ADE986-6BC9-4951-BD0E-CA79642F4A23}">
      <dgm:prSet/>
      <dgm:spPr/>
      <dgm:t>
        <a:bodyPr/>
        <a:lstStyle/>
        <a:p>
          <a:endParaRPr lang="en-GB"/>
        </a:p>
      </dgm:t>
    </dgm:pt>
    <dgm:pt modelId="{FC06298E-1E5D-4703-BA72-094FCD574F42}" type="pres">
      <dgm:prSet presAssocID="{5836072D-0FFF-49F4-8831-E7D4535ABE38}" presName="Name0" presStyleCnt="0">
        <dgm:presLayoutVars>
          <dgm:dir/>
          <dgm:animLvl val="lvl"/>
          <dgm:resizeHandles val="exact"/>
        </dgm:presLayoutVars>
      </dgm:prSet>
      <dgm:spPr/>
      <dgm:t>
        <a:bodyPr/>
        <a:lstStyle/>
        <a:p>
          <a:endParaRPr lang="en-GB"/>
        </a:p>
      </dgm:t>
    </dgm:pt>
    <dgm:pt modelId="{0ED32023-D3B0-490A-81C4-7AED9873F673}" type="pres">
      <dgm:prSet presAssocID="{ACE2D283-19BD-4AA3-AC20-FCD8702D1365}" presName="linNode" presStyleCnt="0"/>
      <dgm:spPr/>
      <dgm:t>
        <a:bodyPr/>
        <a:lstStyle/>
        <a:p>
          <a:endParaRPr lang="en-GB"/>
        </a:p>
      </dgm:t>
    </dgm:pt>
    <dgm:pt modelId="{968DCDFC-3F88-4BF9-AD9C-F80D0CBF1F0E}" type="pres">
      <dgm:prSet presAssocID="{ACE2D283-19BD-4AA3-AC20-FCD8702D1365}" presName="parTx" presStyleLbl="revTx" presStyleIdx="0" presStyleCnt="6">
        <dgm:presLayoutVars>
          <dgm:chMax val="1"/>
          <dgm:bulletEnabled val="1"/>
        </dgm:presLayoutVars>
      </dgm:prSet>
      <dgm:spPr/>
      <dgm:t>
        <a:bodyPr/>
        <a:lstStyle/>
        <a:p>
          <a:endParaRPr lang="en-GB"/>
        </a:p>
      </dgm:t>
    </dgm:pt>
    <dgm:pt modelId="{3B0FB810-CB61-4700-989A-712996FDC084}" type="pres">
      <dgm:prSet presAssocID="{ACE2D283-19BD-4AA3-AC20-FCD8702D1365}" presName="bracket" presStyleLbl="parChTrans1D1" presStyleIdx="0" presStyleCnt="6"/>
      <dgm:spPr/>
      <dgm:t>
        <a:bodyPr/>
        <a:lstStyle/>
        <a:p>
          <a:endParaRPr lang="en-GB"/>
        </a:p>
      </dgm:t>
    </dgm:pt>
    <dgm:pt modelId="{E888C8DF-95F6-4D49-8ABF-528324987A39}" type="pres">
      <dgm:prSet presAssocID="{ACE2D283-19BD-4AA3-AC20-FCD8702D1365}" presName="spH" presStyleCnt="0"/>
      <dgm:spPr/>
      <dgm:t>
        <a:bodyPr/>
        <a:lstStyle/>
        <a:p>
          <a:endParaRPr lang="en-GB"/>
        </a:p>
      </dgm:t>
    </dgm:pt>
    <dgm:pt modelId="{A12782E7-EF0A-4FE6-8097-AA9A7D1D6387}" type="pres">
      <dgm:prSet presAssocID="{ACE2D283-19BD-4AA3-AC20-FCD8702D1365}" presName="desTx" presStyleLbl="node1" presStyleIdx="0" presStyleCnt="6">
        <dgm:presLayoutVars>
          <dgm:bulletEnabled val="1"/>
        </dgm:presLayoutVars>
      </dgm:prSet>
      <dgm:spPr/>
      <dgm:t>
        <a:bodyPr/>
        <a:lstStyle/>
        <a:p>
          <a:endParaRPr lang="en-GB"/>
        </a:p>
      </dgm:t>
    </dgm:pt>
    <dgm:pt modelId="{68355F5B-7EE1-432D-BF20-6DEEEEDFD3A7}" type="pres">
      <dgm:prSet presAssocID="{3ADA7E13-5B11-4FEF-B5D0-094079804E56}" presName="spV" presStyleCnt="0"/>
      <dgm:spPr/>
      <dgm:t>
        <a:bodyPr/>
        <a:lstStyle/>
        <a:p>
          <a:endParaRPr lang="en-GB"/>
        </a:p>
      </dgm:t>
    </dgm:pt>
    <dgm:pt modelId="{7C524D9B-7967-49A9-9A3A-D3FC0D51399A}" type="pres">
      <dgm:prSet presAssocID="{28EDC1E5-0D5B-4E19-AAC4-6BB744513FFD}" presName="linNode" presStyleCnt="0"/>
      <dgm:spPr/>
      <dgm:t>
        <a:bodyPr/>
        <a:lstStyle/>
        <a:p>
          <a:endParaRPr lang="en-GB"/>
        </a:p>
      </dgm:t>
    </dgm:pt>
    <dgm:pt modelId="{B3D5B97C-167A-4058-827A-7F1CBBCEB5BB}" type="pres">
      <dgm:prSet presAssocID="{28EDC1E5-0D5B-4E19-AAC4-6BB744513FFD}" presName="parTx" presStyleLbl="revTx" presStyleIdx="1" presStyleCnt="6">
        <dgm:presLayoutVars>
          <dgm:chMax val="1"/>
          <dgm:bulletEnabled val="1"/>
        </dgm:presLayoutVars>
      </dgm:prSet>
      <dgm:spPr/>
      <dgm:t>
        <a:bodyPr/>
        <a:lstStyle/>
        <a:p>
          <a:endParaRPr lang="en-GB"/>
        </a:p>
      </dgm:t>
    </dgm:pt>
    <dgm:pt modelId="{4B17E53E-E0B1-47AE-B7F2-C404DDB22A72}" type="pres">
      <dgm:prSet presAssocID="{28EDC1E5-0D5B-4E19-AAC4-6BB744513FFD}" presName="bracket" presStyleLbl="parChTrans1D1" presStyleIdx="1" presStyleCnt="6"/>
      <dgm:spPr/>
      <dgm:t>
        <a:bodyPr/>
        <a:lstStyle/>
        <a:p>
          <a:endParaRPr lang="en-GB"/>
        </a:p>
      </dgm:t>
    </dgm:pt>
    <dgm:pt modelId="{7C6D1C9C-662E-46D9-BE73-08E4B7EF153C}" type="pres">
      <dgm:prSet presAssocID="{28EDC1E5-0D5B-4E19-AAC4-6BB744513FFD}" presName="spH" presStyleCnt="0"/>
      <dgm:spPr/>
      <dgm:t>
        <a:bodyPr/>
        <a:lstStyle/>
        <a:p>
          <a:endParaRPr lang="en-GB"/>
        </a:p>
      </dgm:t>
    </dgm:pt>
    <dgm:pt modelId="{A692A2B6-C472-4348-9AF3-BF71D6EBD7E8}" type="pres">
      <dgm:prSet presAssocID="{28EDC1E5-0D5B-4E19-AAC4-6BB744513FFD}" presName="desTx" presStyleLbl="node1" presStyleIdx="1" presStyleCnt="6">
        <dgm:presLayoutVars>
          <dgm:bulletEnabled val="1"/>
        </dgm:presLayoutVars>
      </dgm:prSet>
      <dgm:spPr/>
      <dgm:t>
        <a:bodyPr/>
        <a:lstStyle/>
        <a:p>
          <a:endParaRPr lang="en-GB"/>
        </a:p>
      </dgm:t>
    </dgm:pt>
    <dgm:pt modelId="{FBD0015D-4284-47AC-80A5-6416F229AA99}" type="pres">
      <dgm:prSet presAssocID="{E2D396F6-C110-4250-95D2-80DF0B582F65}" presName="spV" presStyleCnt="0"/>
      <dgm:spPr/>
      <dgm:t>
        <a:bodyPr/>
        <a:lstStyle/>
        <a:p>
          <a:endParaRPr lang="en-GB"/>
        </a:p>
      </dgm:t>
    </dgm:pt>
    <dgm:pt modelId="{D0AD8FA4-A408-40C4-B1FC-8BA6A0EDAA00}" type="pres">
      <dgm:prSet presAssocID="{7AAD5E11-DBF6-4F83-9560-9AC27845AD89}" presName="linNode" presStyleCnt="0"/>
      <dgm:spPr/>
      <dgm:t>
        <a:bodyPr/>
        <a:lstStyle/>
        <a:p>
          <a:endParaRPr lang="en-GB"/>
        </a:p>
      </dgm:t>
    </dgm:pt>
    <dgm:pt modelId="{D44C4DBA-19A2-4171-8537-D7FC97A892DD}" type="pres">
      <dgm:prSet presAssocID="{7AAD5E11-DBF6-4F83-9560-9AC27845AD89}" presName="parTx" presStyleLbl="revTx" presStyleIdx="2" presStyleCnt="6">
        <dgm:presLayoutVars>
          <dgm:chMax val="1"/>
          <dgm:bulletEnabled val="1"/>
        </dgm:presLayoutVars>
      </dgm:prSet>
      <dgm:spPr/>
      <dgm:t>
        <a:bodyPr/>
        <a:lstStyle/>
        <a:p>
          <a:endParaRPr lang="en-GB"/>
        </a:p>
      </dgm:t>
    </dgm:pt>
    <dgm:pt modelId="{D6D41EB6-58C0-4F0C-B55A-C141622920C3}" type="pres">
      <dgm:prSet presAssocID="{7AAD5E11-DBF6-4F83-9560-9AC27845AD89}" presName="bracket" presStyleLbl="parChTrans1D1" presStyleIdx="2" presStyleCnt="6"/>
      <dgm:spPr/>
      <dgm:t>
        <a:bodyPr/>
        <a:lstStyle/>
        <a:p>
          <a:endParaRPr lang="en-GB"/>
        </a:p>
      </dgm:t>
    </dgm:pt>
    <dgm:pt modelId="{F8A6C763-8161-4F7F-A17C-9A5C823356F1}" type="pres">
      <dgm:prSet presAssocID="{7AAD5E11-DBF6-4F83-9560-9AC27845AD89}" presName="spH" presStyleCnt="0"/>
      <dgm:spPr/>
      <dgm:t>
        <a:bodyPr/>
        <a:lstStyle/>
        <a:p>
          <a:endParaRPr lang="en-GB"/>
        </a:p>
      </dgm:t>
    </dgm:pt>
    <dgm:pt modelId="{4E1B0E20-0012-473C-B7F1-1C0361285AAC}" type="pres">
      <dgm:prSet presAssocID="{7AAD5E11-DBF6-4F83-9560-9AC27845AD89}" presName="desTx" presStyleLbl="node1" presStyleIdx="2" presStyleCnt="6">
        <dgm:presLayoutVars>
          <dgm:bulletEnabled val="1"/>
        </dgm:presLayoutVars>
      </dgm:prSet>
      <dgm:spPr/>
      <dgm:t>
        <a:bodyPr/>
        <a:lstStyle/>
        <a:p>
          <a:endParaRPr lang="en-GB"/>
        </a:p>
      </dgm:t>
    </dgm:pt>
    <dgm:pt modelId="{2ECA52E5-F503-4CB6-BD5F-49BB86456C91}" type="pres">
      <dgm:prSet presAssocID="{402E7C5C-E0D9-4F65-A2A7-3136C017C82D}" presName="spV" presStyleCnt="0"/>
      <dgm:spPr/>
      <dgm:t>
        <a:bodyPr/>
        <a:lstStyle/>
        <a:p>
          <a:endParaRPr lang="en-GB"/>
        </a:p>
      </dgm:t>
    </dgm:pt>
    <dgm:pt modelId="{9D6A43D0-39B5-4109-9EB1-6833A357271F}" type="pres">
      <dgm:prSet presAssocID="{D4621751-B1C8-49A3-83A5-AE505C1B62BB}" presName="linNode" presStyleCnt="0"/>
      <dgm:spPr/>
      <dgm:t>
        <a:bodyPr/>
        <a:lstStyle/>
        <a:p>
          <a:endParaRPr lang="en-GB"/>
        </a:p>
      </dgm:t>
    </dgm:pt>
    <dgm:pt modelId="{C8CCDCD7-33A7-48DA-88B3-623029FE4EFC}" type="pres">
      <dgm:prSet presAssocID="{D4621751-B1C8-49A3-83A5-AE505C1B62BB}" presName="parTx" presStyleLbl="revTx" presStyleIdx="3" presStyleCnt="6">
        <dgm:presLayoutVars>
          <dgm:chMax val="1"/>
          <dgm:bulletEnabled val="1"/>
        </dgm:presLayoutVars>
      </dgm:prSet>
      <dgm:spPr/>
      <dgm:t>
        <a:bodyPr/>
        <a:lstStyle/>
        <a:p>
          <a:endParaRPr lang="en-GB"/>
        </a:p>
      </dgm:t>
    </dgm:pt>
    <dgm:pt modelId="{600EFFE7-C96A-4545-9DFF-BF14240AD4D1}" type="pres">
      <dgm:prSet presAssocID="{D4621751-B1C8-49A3-83A5-AE505C1B62BB}" presName="bracket" presStyleLbl="parChTrans1D1" presStyleIdx="3" presStyleCnt="6"/>
      <dgm:spPr/>
      <dgm:t>
        <a:bodyPr/>
        <a:lstStyle/>
        <a:p>
          <a:endParaRPr lang="en-GB"/>
        </a:p>
      </dgm:t>
    </dgm:pt>
    <dgm:pt modelId="{A1E33650-79BC-4CDD-8FA4-9CAB5319E1D4}" type="pres">
      <dgm:prSet presAssocID="{D4621751-B1C8-49A3-83A5-AE505C1B62BB}" presName="spH" presStyleCnt="0"/>
      <dgm:spPr/>
      <dgm:t>
        <a:bodyPr/>
        <a:lstStyle/>
        <a:p>
          <a:endParaRPr lang="en-GB"/>
        </a:p>
      </dgm:t>
    </dgm:pt>
    <dgm:pt modelId="{BCBBC68E-D633-411A-8270-52BD853310AE}" type="pres">
      <dgm:prSet presAssocID="{D4621751-B1C8-49A3-83A5-AE505C1B62BB}" presName="desTx" presStyleLbl="node1" presStyleIdx="3" presStyleCnt="6">
        <dgm:presLayoutVars>
          <dgm:bulletEnabled val="1"/>
        </dgm:presLayoutVars>
      </dgm:prSet>
      <dgm:spPr/>
      <dgm:t>
        <a:bodyPr/>
        <a:lstStyle/>
        <a:p>
          <a:endParaRPr lang="en-GB"/>
        </a:p>
      </dgm:t>
    </dgm:pt>
    <dgm:pt modelId="{FB1AB59B-94E4-4F40-BC43-D51F50957DAF}" type="pres">
      <dgm:prSet presAssocID="{77C8FF2B-6D6B-4524-B61A-00DA8DD3FE3B}" presName="spV" presStyleCnt="0"/>
      <dgm:spPr/>
      <dgm:t>
        <a:bodyPr/>
        <a:lstStyle/>
        <a:p>
          <a:endParaRPr lang="en-GB"/>
        </a:p>
      </dgm:t>
    </dgm:pt>
    <dgm:pt modelId="{59A768F6-EFE7-401B-8C84-0A60FD4D5B74}" type="pres">
      <dgm:prSet presAssocID="{584762EB-6D21-472F-B40F-D8A17477999B}" presName="linNode" presStyleCnt="0"/>
      <dgm:spPr/>
      <dgm:t>
        <a:bodyPr/>
        <a:lstStyle/>
        <a:p>
          <a:endParaRPr lang="en-GB"/>
        </a:p>
      </dgm:t>
    </dgm:pt>
    <dgm:pt modelId="{94EA629E-5D5F-4328-9418-B3CD6702AF0A}" type="pres">
      <dgm:prSet presAssocID="{584762EB-6D21-472F-B40F-D8A17477999B}" presName="parTx" presStyleLbl="revTx" presStyleIdx="4" presStyleCnt="6">
        <dgm:presLayoutVars>
          <dgm:chMax val="1"/>
          <dgm:bulletEnabled val="1"/>
        </dgm:presLayoutVars>
      </dgm:prSet>
      <dgm:spPr/>
      <dgm:t>
        <a:bodyPr/>
        <a:lstStyle/>
        <a:p>
          <a:endParaRPr lang="en-GB"/>
        </a:p>
      </dgm:t>
    </dgm:pt>
    <dgm:pt modelId="{0AEE9D43-D8D9-4971-9217-1FE1D3699DEB}" type="pres">
      <dgm:prSet presAssocID="{584762EB-6D21-472F-B40F-D8A17477999B}" presName="bracket" presStyleLbl="parChTrans1D1" presStyleIdx="4" presStyleCnt="6"/>
      <dgm:spPr/>
      <dgm:t>
        <a:bodyPr/>
        <a:lstStyle/>
        <a:p>
          <a:endParaRPr lang="en-GB"/>
        </a:p>
      </dgm:t>
    </dgm:pt>
    <dgm:pt modelId="{A154808D-2CD6-4597-A4A1-F88C377AD297}" type="pres">
      <dgm:prSet presAssocID="{584762EB-6D21-472F-B40F-D8A17477999B}" presName="spH" presStyleCnt="0"/>
      <dgm:spPr/>
      <dgm:t>
        <a:bodyPr/>
        <a:lstStyle/>
        <a:p>
          <a:endParaRPr lang="en-GB"/>
        </a:p>
      </dgm:t>
    </dgm:pt>
    <dgm:pt modelId="{02B94E9D-5890-4740-A0A4-50C519B3A241}" type="pres">
      <dgm:prSet presAssocID="{584762EB-6D21-472F-B40F-D8A17477999B}" presName="desTx" presStyleLbl="node1" presStyleIdx="4" presStyleCnt="6">
        <dgm:presLayoutVars>
          <dgm:bulletEnabled val="1"/>
        </dgm:presLayoutVars>
      </dgm:prSet>
      <dgm:spPr/>
      <dgm:t>
        <a:bodyPr/>
        <a:lstStyle/>
        <a:p>
          <a:endParaRPr lang="en-GB"/>
        </a:p>
      </dgm:t>
    </dgm:pt>
    <dgm:pt modelId="{C9C4D1B1-34E1-4325-BDB2-56E48EF3EA92}" type="pres">
      <dgm:prSet presAssocID="{67794105-113A-4159-9AAE-B2DD08811550}" presName="spV" presStyleCnt="0"/>
      <dgm:spPr/>
      <dgm:t>
        <a:bodyPr/>
        <a:lstStyle/>
        <a:p>
          <a:endParaRPr lang="en-GB"/>
        </a:p>
      </dgm:t>
    </dgm:pt>
    <dgm:pt modelId="{4637AFAE-D476-40F3-B4DC-62671BC49595}" type="pres">
      <dgm:prSet presAssocID="{B616999F-1086-4D8D-AA34-15CA874A4397}" presName="linNode" presStyleCnt="0"/>
      <dgm:spPr/>
      <dgm:t>
        <a:bodyPr/>
        <a:lstStyle/>
        <a:p>
          <a:endParaRPr lang="en-GB"/>
        </a:p>
      </dgm:t>
    </dgm:pt>
    <dgm:pt modelId="{D9DA114F-CF5A-4969-8B79-F23A04D5ADAE}" type="pres">
      <dgm:prSet presAssocID="{B616999F-1086-4D8D-AA34-15CA874A4397}" presName="parTx" presStyleLbl="revTx" presStyleIdx="5" presStyleCnt="6">
        <dgm:presLayoutVars>
          <dgm:chMax val="1"/>
          <dgm:bulletEnabled val="1"/>
        </dgm:presLayoutVars>
      </dgm:prSet>
      <dgm:spPr/>
      <dgm:t>
        <a:bodyPr/>
        <a:lstStyle/>
        <a:p>
          <a:endParaRPr lang="en-GB"/>
        </a:p>
      </dgm:t>
    </dgm:pt>
    <dgm:pt modelId="{7FBEB457-BAAE-412B-A369-D6ABF9C0EE40}" type="pres">
      <dgm:prSet presAssocID="{B616999F-1086-4D8D-AA34-15CA874A4397}" presName="bracket" presStyleLbl="parChTrans1D1" presStyleIdx="5" presStyleCnt="6"/>
      <dgm:spPr/>
      <dgm:t>
        <a:bodyPr/>
        <a:lstStyle/>
        <a:p>
          <a:endParaRPr lang="en-GB"/>
        </a:p>
      </dgm:t>
    </dgm:pt>
    <dgm:pt modelId="{B5267763-D27F-4753-A9D5-45EAC28855AC}" type="pres">
      <dgm:prSet presAssocID="{B616999F-1086-4D8D-AA34-15CA874A4397}" presName="spH" presStyleCnt="0"/>
      <dgm:spPr/>
      <dgm:t>
        <a:bodyPr/>
        <a:lstStyle/>
        <a:p>
          <a:endParaRPr lang="en-GB"/>
        </a:p>
      </dgm:t>
    </dgm:pt>
    <dgm:pt modelId="{129EE9A0-42B8-4D09-AF6E-A8AD8C767F65}" type="pres">
      <dgm:prSet presAssocID="{B616999F-1086-4D8D-AA34-15CA874A4397}" presName="desTx" presStyleLbl="node1" presStyleIdx="5" presStyleCnt="6">
        <dgm:presLayoutVars>
          <dgm:bulletEnabled val="1"/>
        </dgm:presLayoutVars>
      </dgm:prSet>
      <dgm:spPr/>
      <dgm:t>
        <a:bodyPr/>
        <a:lstStyle/>
        <a:p>
          <a:endParaRPr lang="en-GB"/>
        </a:p>
      </dgm:t>
    </dgm:pt>
  </dgm:ptLst>
  <dgm:cxnLst>
    <dgm:cxn modelId="{F2147B94-1B32-4B11-A6F1-A04125FFE806}" srcId="{7AAD5E11-DBF6-4F83-9560-9AC27845AD89}" destId="{5FA65C22-0112-4EB4-8C3D-59BB28232394}" srcOrd="0" destOrd="0" parTransId="{5AAFBC23-C867-48F6-A137-9B645F609DBB}" sibTransId="{B41760C7-145A-4800-8997-E9CA6B0A6726}"/>
    <dgm:cxn modelId="{CC85BF9B-B8E1-4F2C-BD51-1DECE674E5E9}" srcId="{584762EB-6D21-472F-B40F-D8A17477999B}" destId="{3862E5FC-9F68-4863-96D0-5768EE12E3E5}" srcOrd="0" destOrd="0" parTransId="{7BD5C543-FE23-4635-8919-83F3947D5840}" sibTransId="{D11FCDDD-1F42-49DA-A1AD-4479DD2242EB}"/>
    <dgm:cxn modelId="{21D9BF5E-8ABF-4969-B924-452A1700B952}" srcId="{5836072D-0FFF-49F4-8831-E7D4535ABE38}" destId="{ACE2D283-19BD-4AA3-AC20-FCD8702D1365}" srcOrd="0" destOrd="0" parTransId="{D69BD37D-1940-4676-A720-D5661D265E5B}" sibTransId="{3ADA7E13-5B11-4FEF-B5D0-094079804E56}"/>
    <dgm:cxn modelId="{40F1CAED-CEC4-43F6-AF0E-C4B472ACACB5}" type="presOf" srcId="{584762EB-6D21-472F-B40F-D8A17477999B}" destId="{94EA629E-5D5F-4328-9418-B3CD6702AF0A}" srcOrd="0" destOrd="0" presId="urn:diagrams.loki3.com/BracketList+Icon"/>
    <dgm:cxn modelId="{CF88EBD4-CABA-4352-9AE4-2EEB2BE35CE2}" type="presOf" srcId="{D4621751-B1C8-49A3-83A5-AE505C1B62BB}" destId="{C8CCDCD7-33A7-48DA-88B3-623029FE4EFC}" srcOrd="0" destOrd="0" presId="urn:diagrams.loki3.com/BracketList+Icon"/>
    <dgm:cxn modelId="{CD5CB6B8-16A4-4C32-B294-21D453007FA9}" type="presOf" srcId="{3862E5FC-9F68-4863-96D0-5768EE12E3E5}" destId="{02B94E9D-5890-4740-A0A4-50C519B3A241}" srcOrd="0" destOrd="0" presId="urn:diagrams.loki3.com/BracketList+Icon"/>
    <dgm:cxn modelId="{303022F0-8AB1-4D2A-AA3A-37526E1DE40F}" type="presOf" srcId="{494EF345-FEE7-4D81-A79E-AB46118DC174}" destId="{129EE9A0-42B8-4D09-AF6E-A8AD8C767F65}" srcOrd="0" destOrd="0" presId="urn:diagrams.loki3.com/BracketList+Icon"/>
    <dgm:cxn modelId="{D93177CF-BB08-4B0C-8C69-323C50810C92}" srcId="{D4621751-B1C8-49A3-83A5-AE505C1B62BB}" destId="{856D2071-FF1D-4716-BEE7-D76D1E8D4DEE}" srcOrd="0" destOrd="0" parTransId="{EBA83037-8A6B-4034-97D5-5E799E509182}" sibTransId="{0D0FCA01-C5AB-45F1-AE59-04DFAFC7B0DE}"/>
    <dgm:cxn modelId="{D919CEE6-F1EB-4C79-82CF-EFA8EC3CC13B}" type="presOf" srcId="{ACE2D283-19BD-4AA3-AC20-FCD8702D1365}" destId="{968DCDFC-3F88-4BF9-AD9C-F80D0CBF1F0E}" srcOrd="0" destOrd="0" presId="urn:diagrams.loki3.com/BracketList+Icon"/>
    <dgm:cxn modelId="{33932287-AE25-4057-B981-7CBF07DB0606}" type="presOf" srcId="{93DC6443-76B0-4A7B-8A0F-CD315F8D1D90}" destId="{A12782E7-EF0A-4FE6-8097-AA9A7D1D6387}" srcOrd="0" destOrd="0" presId="urn:diagrams.loki3.com/BracketList+Icon"/>
    <dgm:cxn modelId="{8E910A10-9395-4594-B275-4299B9F0B737}" type="presOf" srcId="{28EDC1E5-0D5B-4E19-AAC4-6BB744513FFD}" destId="{B3D5B97C-167A-4058-827A-7F1CBBCEB5BB}" srcOrd="0" destOrd="0" presId="urn:diagrams.loki3.com/BracketList+Icon"/>
    <dgm:cxn modelId="{067E3595-357B-4B98-A6D1-2EB4FC3BB4D1}" srcId="{5836072D-0FFF-49F4-8831-E7D4535ABE38}" destId="{7AAD5E11-DBF6-4F83-9560-9AC27845AD89}" srcOrd="2" destOrd="0" parTransId="{636CAA35-2602-4E70-89ED-22F40DD3833E}" sibTransId="{402E7C5C-E0D9-4F65-A2A7-3136C017C82D}"/>
    <dgm:cxn modelId="{0443E413-932C-4FA2-A136-9E381B792ECE}" type="presOf" srcId="{5836072D-0FFF-49F4-8831-E7D4535ABE38}" destId="{FC06298E-1E5D-4703-BA72-094FCD574F42}" srcOrd="0" destOrd="0" presId="urn:diagrams.loki3.com/BracketList+Icon"/>
    <dgm:cxn modelId="{D15D9382-6E08-4959-9152-E250A94977CD}" srcId="{ACE2D283-19BD-4AA3-AC20-FCD8702D1365}" destId="{93DC6443-76B0-4A7B-8A0F-CD315F8D1D90}" srcOrd="0" destOrd="0" parTransId="{95CB87A7-8462-4AED-97E9-D83FD3EEE55F}" sibTransId="{B989C116-19A8-418C-BDED-076CCAFC3F80}"/>
    <dgm:cxn modelId="{ACA00F55-8368-495B-9C37-97FE5EB8C3A8}" srcId="{5836072D-0FFF-49F4-8831-E7D4535ABE38}" destId="{B616999F-1086-4D8D-AA34-15CA874A4397}" srcOrd="5" destOrd="0" parTransId="{F430E35E-FBDB-4BC7-AA4D-55B91E00D02A}" sibTransId="{C05AFC79-2917-4F4F-B447-057BE372966F}"/>
    <dgm:cxn modelId="{40ADE986-6BC9-4951-BD0E-CA79642F4A23}" srcId="{B616999F-1086-4D8D-AA34-15CA874A4397}" destId="{494EF345-FEE7-4D81-A79E-AB46118DC174}" srcOrd="0" destOrd="0" parTransId="{7677B563-7E42-48D7-BE82-F9F60ECFD1DB}" sibTransId="{8CB19FD5-9B2B-41B2-98F3-860323AAB701}"/>
    <dgm:cxn modelId="{7E5B03D6-8D61-4B8C-8327-3AF33B23A6C5}" srcId="{28EDC1E5-0D5B-4E19-AAC4-6BB744513FFD}" destId="{AEDF389E-8F3E-4040-8934-064A024AC877}" srcOrd="0" destOrd="0" parTransId="{340A6F3B-766E-4134-A200-A600A4496211}" sibTransId="{E75F04A3-378D-4D5F-93EF-CD9DF52388ED}"/>
    <dgm:cxn modelId="{09918602-1082-4508-9F83-BA4C6EF8839E}" srcId="{5836072D-0FFF-49F4-8831-E7D4535ABE38}" destId="{584762EB-6D21-472F-B40F-D8A17477999B}" srcOrd="4" destOrd="0" parTransId="{78E43C46-27F4-4246-91B4-6A279824ABCD}" sibTransId="{67794105-113A-4159-9AAE-B2DD08811550}"/>
    <dgm:cxn modelId="{6CCB9AB8-682B-4273-A5DD-BABF6D345A28}" type="presOf" srcId="{7AAD5E11-DBF6-4F83-9560-9AC27845AD89}" destId="{D44C4DBA-19A2-4171-8537-D7FC97A892DD}" srcOrd="0" destOrd="0" presId="urn:diagrams.loki3.com/BracketList+Icon"/>
    <dgm:cxn modelId="{0A4AC858-C8CC-4F93-9118-84E179653DD4}" srcId="{5836072D-0FFF-49F4-8831-E7D4535ABE38}" destId="{28EDC1E5-0D5B-4E19-AAC4-6BB744513FFD}" srcOrd="1" destOrd="0" parTransId="{5E708450-D2E1-4C93-A26F-8637E293BA31}" sibTransId="{E2D396F6-C110-4250-95D2-80DF0B582F65}"/>
    <dgm:cxn modelId="{131D237F-4D14-4967-801F-1DF7C92A6A93}" type="presOf" srcId="{5FA65C22-0112-4EB4-8C3D-59BB28232394}" destId="{4E1B0E20-0012-473C-B7F1-1C0361285AAC}" srcOrd="0" destOrd="0" presId="urn:diagrams.loki3.com/BracketList+Icon"/>
    <dgm:cxn modelId="{B96B61A9-69E7-4DFE-92B0-9A4915EDD689}" type="presOf" srcId="{856D2071-FF1D-4716-BEE7-D76D1E8D4DEE}" destId="{BCBBC68E-D633-411A-8270-52BD853310AE}" srcOrd="0" destOrd="0" presId="urn:diagrams.loki3.com/BracketList+Icon"/>
    <dgm:cxn modelId="{122E87EF-624A-4476-921E-C06AA3B91797}" type="presOf" srcId="{B616999F-1086-4D8D-AA34-15CA874A4397}" destId="{D9DA114F-CF5A-4969-8B79-F23A04D5ADAE}" srcOrd="0" destOrd="0" presId="urn:diagrams.loki3.com/BracketList+Icon"/>
    <dgm:cxn modelId="{76AA8390-404D-4A3C-99D6-C3BF98443652}" srcId="{5836072D-0FFF-49F4-8831-E7D4535ABE38}" destId="{D4621751-B1C8-49A3-83A5-AE505C1B62BB}" srcOrd="3" destOrd="0" parTransId="{98E141BB-E540-46AD-BA74-22E1876B2905}" sibTransId="{77C8FF2B-6D6B-4524-B61A-00DA8DD3FE3B}"/>
    <dgm:cxn modelId="{C4622985-FCD9-4474-8F61-28502BE2DAFB}" type="presOf" srcId="{AEDF389E-8F3E-4040-8934-064A024AC877}" destId="{A692A2B6-C472-4348-9AF3-BF71D6EBD7E8}" srcOrd="0" destOrd="0" presId="urn:diagrams.loki3.com/BracketList+Icon"/>
    <dgm:cxn modelId="{C97BF920-868E-4D04-9A07-F3FB41274F90}" type="presParOf" srcId="{FC06298E-1E5D-4703-BA72-094FCD574F42}" destId="{0ED32023-D3B0-490A-81C4-7AED9873F673}" srcOrd="0" destOrd="0" presId="urn:diagrams.loki3.com/BracketList+Icon"/>
    <dgm:cxn modelId="{3D81A1F6-E541-4713-BCA0-7E5CB7AB7E9F}" type="presParOf" srcId="{0ED32023-D3B0-490A-81C4-7AED9873F673}" destId="{968DCDFC-3F88-4BF9-AD9C-F80D0CBF1F0E}" srcOrd="0" destOrd="0" presId="urn:diagrams.loki3.com/BracketList+Icon"/>
    <dgm:cxn modelId="{C15EBCBB-2B64-4664-8581-BC5E2F7E74E5}" type="presParOf" srcId="{0ED32023-D3B0-490A-81C4-7AED9873F673}" destId="{3B0FB810-CB61-4700-989A-712996FDC084}" srcOrd="1" destOrd="0" presId="urn:diagrams.loki3.com/BracketList+Icon"/>
    <dgm:cxn modelId="{9613BF3C-64C5-4175-B3CA-7545A646E4EF}" type="presParOf" srcId="{0ED32023-D3B0-490A-81C4-7AED9873F673}" destId="{E888C8DF-95F6-4D49-8ABF-528324987A39}" srcOrd="2" destOrd="0" presId="urn:diagrams.loki3.com/BracketList+Icon"/>
    <dgm:cxn modelId="{5155EA2F-E135-4584-8466-C13BDE67CA87}" type="presParOf" srcId="{0ED32023-D3B0-490A-81C4-7AED9873F673}" destId="{A12782E7-EF0A-4FE6-8097-AA9A7D1D6387}" srcOrd="3" destOrd="0" presId="urn:diagrams.loki3.com/BracketList+Icon"/>
    <dgm:cxn modelId="{20F8110C-2B93-4A5F-9E3D-7E38D81FFBFB}" type="presParOf" srcId="{FC06298E-1E5D-4703-BA72-094FCD574F42}" destId="{68355F5B-7EE1-432D-BF20-6DEEEEDFD3A7}" srcOrd="1" destOrd="0" presId="urn:diagrams.loki3.com/BracketList+Icon"/>
    <dgm:cxn modelId="{5CB1D593-C70E-4AD4-ACAB-1B0EEF4D5EFC}" type="presParOf" srcId="{FC06298E-1E5D-4703-BA72-094FCD574F42}" destId="{7C524D9B-7967-49A9-9A3A-D3FC0D51399A}" srcOrd="2" destOrd="0" presId="urn:diagrams.loki3.com/BracketList+Icon"/>
    <dgm:cxn modelId="{2B07486C-7356-4668-B330-3B807F4AB3CF}" type="presParOf" srcId="{7C524D9B-7967-49A9-9A3A-D3FC0D51399A}" destId="{B3D5B97C-167A-4058-827A-7F1CBBCEB5BB}" srcOrd="0" destOrd="0" presId="urn:diagrams.loki3.com/BracketList+Icon"/>
    <dgm:cxn modelId="{D86B33DA-2824-45E1-82A0-6DB6BDC8B31A}" type="presParOf" srcId="{7C524D9B-7967-49A9-9A3A-D3FC0D51399A}" destId="{4B17E53E-E0B1-47AE-B7F2-C404DDB22A72}" srcOrd="1" destOrd="0" presId="urn:diagrams.loki3.com/BracketList+Icon"/>
    <dgm:cxn modelId="{BC5FFB7E-0E0B-4E12-8909-B1DC6069275E}" type="presParOf" srcId="{7C524D9B-7967-49A9-9A3A-D3FC0D51399A}" destId="{7C6D1C9C-662E-46D9-BE73-08E4B7EF153C}" srcOrd="2" destOrd="0" presId="urn:diagrams.loki3.com/BracketList+Icon"/>
    <dgm:cxn modelId="{15C029A9-B49B-436C-A1B6-6B2AC9017BD7}" type="presParOf" srcId="{7C524D9B-7967-49A9-9A3A-D3FC0D51399A}" destId="{A692A2B6-C472-4348-9AF3-BF71D6EBD7E8}" srcOrd="3" destOrd="0" presId="urn:diagrams.loki3.com/BracketList+Icon"/>
    <dgm:cxn modelId="{B0250A74-CE59-451C-985D-E8DF886255DD}" type="presParOf" srcId="{FC06298E-1E5D-4703-BA72-094FCD574F42}" destId="{FBD0015D-4284-47AC-80A5-6416F229AA99}" srcOrd="3" destOrd="0" presId="urn:diagrams.loki3.com/BracketList+Icon"/>
    <dgm:cxn modelId="{3F6169A7-E3CF-40C7-AB25-AD8E597007D4}" type="presParOf" srcId="{FC06298E-1E5D-4703-BA72-094FCD574F42}" destId="{D0AD8FA4-A408-40C4-B1FC-8BA6A0EDAA00}" srcOrd="4" destOrd="0" presId="urn:diagrams.loki3.com/BracketList+Icon"/>
    <dgm:cxn modelId="{36BF594E-0EEC-4736-8448-DE634E06B85F}" type="presParOf" srcId="{D0AD8FA4-A408-40C4-B1FC-8BA6A0EDAA00}" destId="{D44C4DBA-19A2-4171-8537-D7FC97A892DD}" srcOrd="0" destOrd="0" presId="urn:diagrams.loki3.com/BracketList+Icon"/>
    <dgm:cxn modelId="{392EAD57-0482-4764-B17C-A37859A3DCAA}" type="presParOf" srcId="{D0AD8FA4-A408-40C4-B1FC-8BA6A0EDAA00}" destId="{D6D41EB6-58C0-4F0C-B55A-C141622920C3}" srcOrd="1" destOrd="0" presId="urn:diagrams.loki3.com/BracketList+Icon"/>
    <dgm:cxn modelId="{6BF00ECD-22C3-4373-B9C0-CCC9B946DD3B}" type="presParOf" srcId="{D0AD8FA4-A408-40C4-B1FC-8BA6A0EDAA00}" destId="{F8A6C763-8161-4F7F-A17C-9A5C823356F1}" srcOrd="2" destOrd="0" presId="urn:diagrams.loki3.com/BracketList+Icon"/>
    <dgm:cxn modelId="{EC4F2052-AA2A-45AE-8AE4-AA040F95708E}" type="presParOf" srcId="{D0AD8FA4-A408-40C4-B1FC-8BA6A0EDAA00}" destId="{4E1B0E20-0012-473C-B7F1-1C0361285AAC}" srcOrd="3" destOrd="0" presId="urn:diagrams.loki3.com/BracketList+Icon"/>
    <dgm:cxn modelId="{55C1E8D5-61A1-4246-9E41-D1163FD38F0D}" type="presParOf" srcId="{FC06298E-1E5D-4703-BA72-094FCD574F42}" destId="{2ECA52E5-F503-4CB6-BD5F-49BB86456C91}" srcOrd="5" destOrd="0" presId="urn:diagrams.loki3.com/BracketList+Icon"/>
    <dgm:cxn modelId="{EE8120E0-A14D-4183-AB5E-25D0FB7B1D7C}" type="presParOf" srcId="{FC06298E-1E5D-4703-BA72-094FCD574F42}" destId="{9D6A43D0-39B5-4109-9EB1-6833A357271F}" srcOrd="6" destOrd="0" presId="urn:diagrams.loki3.com/BracketList+Icon"/>
    <dgm:cxn modelId="{4F25BFA4-F8EE-45D0-B194-05717EEF18F7}" type="presParOf" srcId="{9D6A43D0-39B5-4109-9EB1-6833A357271F}" destId="{C8CCDCD7-33A7-48DA-88B3-623029FE4EFC}" srcOrd="0" destOrd="0" presId="urn:diagrams.loki3.com/BracketList+Icon"/>
    <dgm:cxn modelId="{FD4BA05A-93C8-4F5E-A7BC-D722B1589184}" type="presParOf" srcId="{9D6A43D0-39B5-4109-9EB1-6833A357271F}" destId="{600EFFE7-C96A-4545-9DFF-BF14240AD4D1}" srcOrd="1" destOrd="0" presId="urn:diagrams.loki3.com/BracketList+Icon"/>
    <dgm:cxn modelId="{A20C92E7-7C56-44FB-B0D6-084703FDC427}" type="presParOf" srcId="{9D6A43D0-39B5-4109-9EB1-6833A357271F}" destId="{A1E33650-79BC-4CDD-8FA4-9CAB5319E1D4}" srcOrd="2" destOrd="0" presId="urn:diagrams.loki3.com/BracketList+Icon"/>
    <dgm:cxn modelId="{2F7057DB-EAF5-4EE4-B8F6-61872B9E6269}" type="presParOf" srcId="{9D6A43D0-39B5-4109-9EB1-6833A357271F}" destId="{BCBBC68E-D633-411A-8270-52BD853310AE}" srcOrd="3" destOrd="0" presId="urn:diagrams.loki3.com/BracketList+Icon"/>
    <dgm:cxn modelId="{5AFDF7AE-6ABB-4CA9-BD58-F7122DA9E237}" type="presParOf" srcId="{FC06298E-1E5D-4703-BA72-094FCD574F42}" destId="{FB1AB59B-94E4-4F40-BC43-D51F50957DAF}" srcOrd="7" destOrd="0" presId="urn:diagrams.loki3.com/BracketList+Icon"/>
    <dgm:cxn modelId="{03743061-E299-4BC8-8A42-5034BC993833}" type="presParOf" srcId="{FC06298E-1E5D-4703-BA72-094FCD574F42}" destId="{59A768F6-EFE7-401B-8C84-0A60FD4D5B74}" srcOrd="8" destOrd="0" presId="urn:diagrams.loki3.com/BracketList+Icon"/>
    <dgm:cxn modelId="{531B578E-5FDF-4210-93AB-4EF9A5591F47}" type="presParOf" srcId="{59A768F6-EFE7-401B-8C84-0A60FD4D5B74}" destId="{94EA629E-5D5F-4328-9418-B3CD6702AF0A}" srcOrd="0" destOrd="0" presId="urn:diagrams.loki3.com/BracketList+Icon"/>
    <dgm:cxn modelId="{DFF9E1ED-A787-4C78-AF93-27A198551564}" type="presParOf" srcId="{59A768F6-EFE7-401B-8C84-0A60FD4D5B74}" destId="{0AEE9D43-D8D9-4971-9217-1FE1D3699DEB}" srcOrd="1" destOrd="0" presId="urn:diagrams.loki3.com/BracketList+Icon"/>
    <dgm:cxn modelId="{CAF1BC36-A291-4A85-A8AB-5EDF9499A475}" type="presParOf" srcId="{59A768F6-EFE7-401B-8C84-0A60FD4D5B74}" destId="{A154808D-2CD6-4597-A4A1-F88C377AD297}" srcOrd="2" destOrd="0" presId="urn:diagrams.loki3.com/BracketList+Icon"/>
    <dgm:cxn modelId="{E03F53FE-724C-42C0-9152-F37DA17C6FA4}" type="presParOf" srcId="{59A768F6-EFE7-401B-8C84-0A60FD4D5B74}" destId="{02B94E9D-5890-4740-A0A4-50C519B3A241}" srcOrd="3" destOrd="0" presId="urn:diagrams.loki3.com/BracketList+Icon"/>
    <dgm:cxn modelId="{66D44A71-E8BC-4620-8B74-15F222B876D4}" type="presParOf" srcId="{FC06298E-1E5D-4703-BA72-094FCD574F42}" destId="{C9C4D1B1-34E1-4325-BDB2-56E48EF3EA92}" srcOrd="9" destOrd="0" presId="urn:diagrams.loki3.com/BracketList+Icon"/>
    <dgm:cxn modelId="{200F2FD0-FBFF-4DFA-ADC4-35E8708621B0}" type="presParOf" srcId="{FC06298E-1E5D-4703-BA72-094FCD574F42}" destId="{4637AFAE-D476-40F3-B4DC-62671BC49595}" srcOrd="10" destOrd="0" presId="urn:diagrams.loki3.com/BracketList+Icon"/>
    <dgm:cxn modelId="{F9D5B541-FA17-44EB-9E72-3BC3A095B100}" type="presParOf" srcId="{4637AFAE-D476-40F3-B4DC-62671BC49595}" destId="{D9DA114F-CF5A-4969-8B79-F23A04D5ADAE}" srcOrd="0" destOrd="0" presId="urn:diagrams.loki3.com/BracketList+Icon"/>
    <dgm:cxn modelId="{921B43B5-9526-43AB-A991-8F125FF0917D}" type="presParOf" srcId="{4637AFAE-D476-40F3-B4DC-62671BC49595}" destId="{7FBEB457-BAAE-412B-A369-D6ABF9C0EE40}" srcOrd="1" destOrd="0" presId="urn:diagrams.loki3.com/BracketList+Icon"/>
    <dgm:cxn modelId="{925BAB17-2F64-4618-836B-9FB2647CBC19}" type="presParOf" srcId="{4637AFAE-D476-40F3-B4DC-62671BC49595}" destId="{B5267763-D27F-4753-A9D5-45EAC28855AC}" srcOrd="2" destOrd="0" presId="urn:diagrams.loki3.com/BracketList+Icon"/>
    <dgm:cxn modelId="{0248E155-8C99-4338-947E-6FCA7DB78C72}" type="presParOf" srcId="{4637AFAE-D476-40F3-B4DC-62671BC49595}" destId="{129EE9A0-42B8-4D09-AF6E-A8AD8C767F65}" srcOrd="3" destOrd="0" presId="urn:diagrams.loki3.com/BracketLis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FD841B-2BDC-42F3-A7BB-2CAE623D3649}">
      <dsp:nvSpPr>
        <dsp:cNvPr id="0" name=""/>
        <dsp:cNvSpPr/>
      </dsp:nvSpPr>
      <dsp:spPr>
        <a:xfrm>
          <a:off x="0" y="139722"/>
          <a:ext cx="6605671" cy="1558439"/>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GB" sz="1800" b="0" i="0" kern="1200" baseline="0" dirty="0" smtClean="0"/>
            <a:t>School 21 is a new Free School in Stratford, east London. It is funded by government but has control over its curriculum and school hours. Admissions are handled by the Borough of Newham. Of our students, 55% are on Free School Meals and four out of five are bilingual.</a:t>
          </a:r>
          <a:endParaRPr lang="en-GB" sz="1800" kern="1200" dirty="0"/>
        </a:p>
      </dsp:txBody>
      <dsp:txXfrm>
        <a:off x="76077" y="215799"/>
        <a:ext cx="6453517" cy="1406285"/>
      </dsp:txXfrm>
    </dsp:sp>
    <dsp:sp modelId="{F4660E43-FDE6-4F0C-BFD1-CD9A401B3FA5}">
      <dsp:nvSpPr>
        <dsp:cNvPr id="0" name=""/>
        <dsp:cNvSpPr/>
      </dsp:nvSpPr>
      <dsp:spPr>
        <a:xfrm>
          <a:off x="0" y="1698162"/>
          <a:ext cx="6605671" cy="298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730" tIns="22860" rIns="128016" bIns="22860" numCol="1" spcCol="1270" anchor="t" anchorCtr="0">
          <a:noAutofit/>
        </a:bodyPr>
        <a:lstStyle/>
        <a:p>
          <a:pPr marL="114300" lvl="1" indent="-114300" algn="l" defTabSz="622300" rtl="0">
            <a:lnSpc>
              <a:spcPct val="90000"/>
            </a:lnSpc>
            <a:spcBef>
              <a:spcPct val="0"/>
            </a:spcBef>
            <a:spcAft>
              <a:spcPct val="20000"/>
            </a:spcAft>
            <a:buChar char="••"/>
          </a:pPr>
          <a:r>
            <a:rPr lang="en-GB" sz="1400" kern="1200" dirty="0" smtClean="0">
              <a:hlinkClick xmlns:r="http://schemas.openxmlformats.org/officeDocument/2006/relationships" r:id="rId1"/>
            </a:rPr>
            <a:t>www.school21.org</a:t>
          </a:r>
          <a:r>
            <a:rPr lang="en-GB" sz="1400" kern="1200" dirty="0" smtClean="0"/>
            <a:t> </a:t>
          </a:r>
          <a:endParaRPr lang="en-GB" sz="1400" kern="1200" dirty="0"/>
        </a:p>
      </dsp:txBody>
      <dsp:txXfrm>
        <a:off x="0" y="1698162"/>
        <a:ext cx="6605671" cy="298080"/>
      </dsp:txXfrm>
    </dsp:sp>
    <dsp:sp modelId="{D7B5AC0E-976B-4E2A-962D-B1BA767CEF86}">
      <dsp:nvSpPr>
        <dsp:cNvPr id="0" name=""/>
        <dsp:cNvSpPr/>
      </dsp:nvSpPr>
      <dsp:spPr>
        <a:xfrm>
          <a:off x="0" y="1996242"/>
          <a:ext cx="6605671" cy="1558439"/>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GB" sz="1800" b="0" i="0" kern="1200" baseline="0" smtClean="0"/>
            <a:t>A team led by Professor Neil Mercer at the Education Faculty is developing a diagnostic tool for oracy. Professor Mercer is an expert on classroom talk. He is assisted by Paul Warwick and Dr Ayesha Ahmed.</a:t>
          </a:r>
          <a:endParaRPr lang="en-GB" sz="1800" kern="1200" dirty="0"/>
        </a:p>
      </dsp:txBody>
      <dsp:txXfrm>
        <a:off x="76077" y="2072319"/>
        <a:ext cx="6453517" cy="1406285"/>
      </dsp:txXfrm>
    </dsp:sp>
    <dsp:sp modelId="{ECFB4788-E7F0-455B-8C82-A50159D4D4FC}">
      <dsp:nvSpPr>
        <dsp:cNvPr id="0" name=""/>
        <dsp:cNvSpPr/>
      </dsp:nvSpPr>
      <dsp:spPr>
        <a:xfrm>
          <a:off x="0" y="3554682"/>
          <a:ext cx="6605671" cy="298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730" tIns="22860" rIns="128016" bIns="22860" numCol="1" spcCol="1270" anchor="t" anchorCtr="0">
          <a:noAutofit/>
        </a:bodyPr>
        <a:lstStyle/>
        <a:p>
          <a:pPr marL="114300" lvl="1" indent="-114300" algn="l" defTabSz="622300" rtl="0">
            <a:lnSpc>
              <a:spcPct val="90000"/>
            </a:lnSpc>
            <a:spcBef>
              <a:spcPct val="0"/>
            </a:spcBef>
            <a:spcAft>
              <a:spcPct val="20000"/>
            </a:spcAft>
            <a:buChar char="••"/>
          </a:pPr>
          <a:r>
            <a:rPr lang="en-GB" sz="1400" kern="1200" dirty="0" smtClean="0">
              <a:hlinkClick xmlns:r="http://schemas.openxmlformats.org/officeDocument/2006/relationships" r:id="rId2"/>
            </a:rPr>
            <a:t>www.educ.cam.ac.uk</a:t>
          </a:r>
          <a:r>
            <a:rPr lang="en-GB" sz="1400" kern="1200" dirty="0" smtClean="0"/>
            <a:t> </a:t>
          </a:r>
          <a:endParaRPr lang="en-GB" sz="1400" kern="1200" dirty="0"/>
        </a:p>
      </dsp:txBody>
      <dsp:txXfrm>
        <a:off x="0" y="3554682"/>
        <a:ext cx="6605671" cy="298080"/>
      </dsp:txXfrm>
    </dsp:sp>
    <dsp:sp modelId="{D7B279C6-A9D9-48D2-B705-E5CFA5DF9DBB}">
      <dsp:nvSpPr>
        <dsp:cNvPr id="0" name=""/>
        <dsp:cNvSpPr/>
      </dsp:nvSpPr>
      <dsp:spPr>
        <a:xfrm>
          <a:off x="0" y="3852762"/>
          <a:ext cx="6605671" cy="1558439"/>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GB" sz="1800" b="0" i="0" kern="1200" baseline="0" smtClean="0"/>
            <a:t>The EEF is providing funding for the project. It is an independent grant-making charity, ‘dedicated to breaking the link between family income and educational achievement’. Funding was awarded in January 2013.</a:t>
          </a:r>
          <a:endParaRPr lang="en-GB" sz="1800" kern="1200" dirty="0"/>
        </a:p>
      </dsp:txBody>
      <dsp:txXfrm>
        <a:off x="76077" y="3928839"/>
        <a:ext cx="6453517" cy="1406285"/>
      </dsp:txXfrm>
    </dsp:sp>
    <dsp:sp modelId="{029AFA9A-4318-4F37-AFF3-B71DBD1B8185}">
      <dsp:nvSpPr>
        <dsp:cNvPr id="0" name=""/>
        <dsp:cNvSpPr/>
      </dsp:nvSpPr>
      <dsp:spPr>
        <a:xfrm>
          <a:off x="0" y="5411202"/>
          <a:ext cx="6605671" cy="298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730" tIns="22860" rIns="128016" bIns="22860" numCol="1" spcCol="1270" anchor="t" anchorCtr="0">
          <a:noAutofit/>
        </a:bodyPr>
        <a:lstStyle/>
        <a:p>
          <a:pPr marL="114300" lvl="1" indent="-114300" algn="l" defTabSz="622300" rtl="0">
            <a:lnSpc>
              <a:spcPct val="90000"/>
            </a:lnSpc>
            <a:spcBef>
              <a:spcPct val="0"/>
            </a:spcBef>
            <a:spcAft>
              <a:spcPct val="20000"/>
            </a:spcAft>
            <a:buChar char="••"/>
          </a:pPr>
          <a:r>
            <a:rPr lang="en-GB" sz="1400" kern="1200" dirty="0" smtClean="0">
              <a:hlinkClick xmlns:r="http://schemas.openxmlformats.org/officeDocument/2006/relationships" r:id="rId3"/>
            </a:rPr>
            <a:t>www.educationendowmentfoundation.com</a:t>
          </a:r>
          <a:r>
            <a:rPr lang="en-GB" sz="1400" kern="1200" dirty="0" smtClean="0"/>
            <a:t> </a:t>
          </a:r>
          <a:endParaRPr lang="en-GB" sz="1400" kern="1200" dirty="0"/>
        </a:p>
      </dsp:txBody>
      <dsp:txXfrm>
        <a:off x="0" y="5411202"/>
        <a:ext cx="6605671" cy="298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925B4A-11A6-4A8C-B4CB-B6AF8C80E054}">
      <dsp:nvSpPr>
        <dsp:cNvPr id="0" name=""/>
        <dsp:cNvSpPr/>
      </dsp:nvSpPr>
      <dsp:spPr>
        <a:xfrm>
          <a:off x="0" y="36935"/>
          <a:ext cx="8962931" cy="136890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rtl="0">
            <a:lnSpc>
              <a:spcPct val="90000"/>
            </a:lnSpc>
            <a:spcBef>
              <a:spcPct val="0"/>
            </a:spcBef>
            <a:spcAft>
              <a:spcPct val="35000"/>
            </a:spcAft>
          </a:pPr>
          <a:r>
            <a:rPr lang="en-GB" sz="3600" kern="1200" dirty="0" smtClean="0">
              <a:latin typeface="Gill Sans MT" pitchFamily="34" charset="0"/>
            </a:rPr>
            <a:t>To cover the gaps in our existing expertise</a:t>
          </a:r>
          <a:endParaRPr lang="en-GB" sz="3600" kern="1200" dirty="0">
            <a:latin typeface="Gill Sans MT" pitchFamily="34" charset="0"/>
          </a:endParaRPr>
        </a:p>
      </dsp:txBody>
      <dsp:txXfrm>
        <a:off x="66824" y="103759"/>
        <a:ext cx="8829283" cy="1235252"/>
      </dsp:txXfrm>
    </dsp:sp>
    <dsp:sp modelId="{24BDAB91-A6CD-4FF2-A580-2530EB3B48DA}">
      <dsp:nvSpPr>
        <dsp:cNvPr id="0" name=""/>
        <dsp:cNvSpPr/>
      </dsp:nvSpPr>
      <dsp:spPr>
        <a:xfrm>
          <a:off x="0" y="1509515"/>
          <a:ext cx="8962931" cy="136890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rtl="0">
            <a:lnSpc>
              <a:spcPct val="90000"/>
            </a:lnSpc>
            <a:spcBef>
              <a:spcPct val="0"/>
            </a:spcBef>
            <a:spcAft>
              <a:spcPct val="35000"/>
            </a:spcAft>
          </a:pPr>
          <a:r>
            <a:rPr lang="en-GB" sz="3600" kern="1200" dirty="0" smtClean="0">
              <a:latin typeface="Gill Sans MT" pitchFamily="34" charset="0"/>
            </a:rPr>
            <a:t>To benefit from existing practice and from the best in the business</a:t>
          </a:r>
          <a:endParaRPr lang="en-GB" sz="3600" kern="1200" dirty="0">
            <a:latin typeface="Gill Sans MT" pitchFamily="34" charset="0"/>
          </a:endParaRPr>
        </a:p>
      </dsp:txBody>
      <dsp:txXfrm>
        <a:off x="66824" y="1576339"/>
        <a:ext cx="8829283" cy="1235252"/>
      </dsp:txXfrm>
    </dsp:sp>
    <dsp:sp modelId="{6ACC1E74-F1AF-4931-AEB4-B1FBB87E609C}">
      <dsp:nvSpPr>
        <dsp:cNvPr id="0" name=""/>
        <dsp:cNvSpPr/>
      </dsp:nvSpPr>
      <dsp:spPr>
        <a:xfrm>
          <a:off x="0" y="2994131"/>
          <a:ext cx="8962931" cy="136890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rtl="0">
            <a:lnSpc>
              <a:spcPct val="90000"/>
            </a:lnSpc>
            <a:spcBef>
              <a:spcPct val="0"/>
            </a:spcBef>
            <a:spcAft>
              <a:spcPct val="35000"/>
            </a:spcAft>
          </a:pPr>
          <a:r>
            <a:rPr lang="en-GB" sz="3600" kern="1200" dirty="0" smtClean="0">
              <a:latin typeface="Gill Sans MT" pitchFamily="34" charset="0"/>
            </a:rPr>
            <a:t>To widen the ‘ownership’ of the project and gain new sources of criticism and feedback</a:t>
          </a:r>
          <a:endParaRPr lang="en-GB" sz="3600" kern="1200" dirty="0">
            <a:latin typeface="Gill Sans MT" pitchFamily="34" charset="0"/>
          </a:endParaRPr>
        </a:p>
      </dsp:txBody>
      <dsp:txXfrm>
        <a:off x="66824" y="3060955"/>
        <a:ext cx="8829283" cy="12352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8D37B0-7511-4237-9F52-F5A5D1DBE576}">
      <dsp:nvSpPr>
        <dsp:cNvPr id="0" name=""/>
        <dsp:cNvSpPr/>
      </dsp:nvSpPr>
      <dsp:spPr>
        <a:xfrm>
          <a:off x="0" y="124255"/>
          <a:ext cx="4474738" cy="47735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kern="1200" smtClean="0"/>
            <a:t>An opportunity to make contacts and exchange ideas on practice with other leaders in the teaching of spoken communication</a:t>
          </a:r>
          <a:endParaRPr lang="en-GB" sz="1200" kern="1200"/>
        </a:p>
      </dsp:txBody>
      <dsp:txXfrm>
        <a:off x="23303" y="147558"/>
        <a:ext cx="4428132" cy="430753"/>
      </dsp:txXfrm>
    </dsp:sp>
    <dsp:sp modelId="{C627F2D8-CA60-4B04-B532-2F083F11054F}">
      <dsp:nvSpPr>
        <dsp:cNvPr id="0" name=""/>
        <dsp:cNvSpPr/>
      </dsp:nvSpPr>
      <dsp:spPr>
        <a:xfrm>
          <a:off x="0" y="636175"/>
          <a:ext cx="4474738" cy="47735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kern="1200" smtClean="0"/>
            <a:t>An opportunity for organisations to raise their public profiles</a:t>
          </a:r>
          <a:endParaRPr lang="en-GB" sz="1200" kern="1200"/>
        </a:p>
      </dsp:txBody>
      <dsp:txXfrm>
        <a:off x="23303" y="659478"/>
        <a:ext cx="4428132" cy="430753"/>
      </dsp:txXfrm>
    </dsp:sp>
    <dsp:sp modelId="{D3E9F50E-5D1A-49A1-9159-CAE8228E98AE}">
      <dsp:nvSpPr>
        <dsp:cNvPr id="0" name=""/>
        <dsp:cNvSpPr/>
      </dsp:nvSpPr>
      <dsp:spPr>
        <a:xfrm>
          <a:off x="0" y="1148095"/>
          <a:ext cx="4474738" cy="47735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en-GB" sz="1200" kern="1200" smtClean="0"/>
            <a:t>Excellent social-outreach opportunities for businesses, charities and individuals</a:t>
          </a:r>
          <a:endParaRPr lang="en-GB" sz="1200" kern="1200"/>
        </a:p>
      </dsp:txBody>
      <dsp:txXfrm>
        <a:off x="23303" y="1171398"/>
        <a:ext cx="4428132" cy="43075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CC6894-9D63-4CA9-9FE2-75FC76AE6273}">
      <dsp:nvSpPr>
        <dsp:cNvPr id="0" name=""/>
        <dsp:cNvSpPr/>
      </dsp:nvSpPr>
      <dsp:spPr>
        <a:xfrm>
          <a:off x="0" y="16037"/>
          <a:ext cx="9052560" cy="1712880"/>
        </a:xfrm>
        <a:prstGeom prst="round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GB" sz="2400" kern="1200" dirty="0" smtClean="0"/>
            <a:t>A skills framework is designed to organise teaching and learning, rather than to fully describe the phenomenon of speech. Some of its distinctions are artificial; it is not the whole story; like all tools, it will be improved as people use it. </a:t>
          </a:r>
          <a:endParaRPr lang="en-GB" sz="2400" kern="1200" dirty="0"/>
        </a:p>
      </dsp:txBody>
      <dsp:txXfrm>
        <a:off x="83616" y="99653"/>
        <a:ext cx="8885328" cy="154564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ABD45D-B732-4C54-A9C2-DB3B07CB0552}">
      <dsp:nvSpPr>
        <dsp:cNvPr id="0" name=""/>
        <dsp:cNvSpPr/>
      </dsp:nvSpPr>
      <dsp:spPr>
        <a:xfrm>
          <a:off x="0" y="0"/>
          <a:ext cx="8554550" cy="0"/>
        </a:xfrm>
        <a:prstGeom prst="line">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F500DB-9DB1-4103-AB88-123EE7CDFAE1}">
      <dsp:nvSpPr>
        <dsp:cNvPr id="0" name=""/>
        <dsp:cNvSpPr/>
      </dsp:nvSpPr>
      <dsp:spPr>
        <a:xfrm>
          <a:off x="0" y="0"/>
          <a:ext cx="1710910" cy="715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lvl="0" algn="l" defTabSz="1333500" rtl="0">
            <a:lnSpc>
              <a:spcPct val="90000"/>
            </a:lnSpc>
            <a:spcBef>
              <a:spcPct val="0"/>
            </a:spcBef>
            <a:spcAft>
              <a:spcPct val="35000"/>
            </a:spcAft>
          </a:pPr>
          <a:r>
            <a:rPr lang="en-GB" sz="3000" kern="1200" dirty="0" smtClean="0">
              <a:latin typeface="Gill Sans MT" pitchFamily="34" charset="0"/>
            </a:rPr>
            <a:t>Cognitive</a:t>
          </a:r>
          <a:endParaRPr lang="en-GB" sz="3000" kern="1200" dirty="0">
            <a:latin typeface="Gill Sans MT" pitchFamily="34" charset="0"/>
          </a:endParaRPr>
        </a:p>
      </dsp:txBody>
      <dsp:txXfrm>
        <a:off x="0" y="0"/>
        <a:ext cx="1710910" cy="715580"/>
      </dsp:txXfrm>
    </dsp:sp>
    <dsp:sp modelId="{23D2B69C-D7C4-410F-B724-AF215EA96F9F}">
      <dsp:nvSpPr>
        <dsp:cNvPr id="0" name=""/>
        <dsp:cNvSpPr/>
      </dsp:nvSpPr>
      <dsp:spPr>
        <a:xfrm>
          <a:off x="1839228" y="32494"/>
          <a:ext cx="6715321" cy="649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rtl="0">
            <a:lnSpc>
              <a:spcPct val="90000"/>
            </a:lnSpc>
            <a:spcBef>
              <a:spcPct val="0"/>
            </a:spcBef>
            <a:spcAft>
              <a:spcPct val="35000"/>
            </a:spcAft>
          </a:pPr>
          <a:r>
            <a:rPr lang="en-GB" sz="1900" kern="1200" smtClean="0">
              <a:latin typeface="Gill Sans MT" pitchFamily="34" charset="0"/>
            </a:rPr>
            <a:t>The deliberate application of thought to what you’re saying</a:t>
          </a:r>
          <a:endParaRPr lang="en-GB" sz="1900" kern="1200">
            <a:latin typeface="Gill Sans MT" pitchFamily="34" charset="0"/>
          </a:endParaRPr>
        </a:p>
      </dsp:txBody>
      <dsp:txXfrm>
        <a:off x="1839228" y="32494"/>
        <a:ext cx="6715321" cy="649892"/>
      </dsp:txXfrm>
    </dsp:sp>
    <dsp:sp modelId="{88589071-38B1-4A3A-9C7B-F8F1A00A27BD}">
      <dsp:nvSpPr>
        <dsp:cNvPr id="0" name=""/>
        <dsp:cNvSpPr/>
      </dsp:nvSpPr>
      <dsp:spPr>
        <a:xfrm>
          <a:off x="1710910" y="682387"/>
          <a:ext cx="6843640"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9AE6A0-E03D-4A82-B62A-8686D6095B25}">
      <dsp:nvSpPr>
        <dsp:cNvPr id="0" name=""/>
        <dsp:cNvSpPr/>
      </dsp:nvSpPr>
      <dsp:spPr>
        <a:xfrm>
          <a:off x="0" y="715580"/>
          <a:ext cx="8554550" cy="0"/>
        </a:xfrm>
        <a:prstGeom prst="line">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0241691-8A91-4B69-A07D-601D0CC9CAD6}">
      <dsp:nvSpPr>
        <dsp:cNvPr id="0" name=""/>
        <dsp:cNvSpPr/>
      </dsp:nvSpPr>
      <dsp:spPr>
        <a:xfrm>
          <a:off x="0" y="715580"/>
          <a:ext cx="1710910" cy="715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lvl="0" algn="l" defTabSz="1333500" rtl="0">
            <a:lnSpc>
              <a:spcPct val="90000"/>
            </a:lnSpc>
            <a:spcBef>
              <a:spcPct val="0"/>
            </a:spcBef>
            <a:spcAft>
              <a:spcPct val="35000"/>
            </a:spcAft>
          </a:pPr>
          <a:r>
            <a:rPr lang="en-GB" sz="3000" kern="1200" dirty="0" smtClean="0">
              <a:latin typeface="Gill Sans MT" pitchFamily="34" charset="0"/>
            </a:rPr>
            <a:t>Linguistic</a:t>
          </a:r>
          <a:endParaRPr lang="en-GB" sz="3000" kern="1200" dirty="0">
            <a:latin typeface="Gill Sans MT" pitchFamily="34" charset="0"/>
          </a:endParaRPr>
        </a:p>
      </dsp:txBody>
      <dsp:txXfrm>
        <a:off x="0" y="715580"/>
        <a:ext cx="1710910" cy="715580"/>
      </dsp:txXfrm>
    </dsp:sp>
    <dsp:sp modelId="{648C8372-039E-49FA-8122-6AE82C134B00}">
      <dsp:nvSpPr>
        <dsp:cNvPr id="0" name=""/>
        <dsp:cNvSpPr/>
      </dsp:nvSpPr>
      <dsp:spPr>
        <a:xfrm>
          <a:off x="1839228" y="748075"/>
          <a:ext cx="6715321" cy="649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rtl="0">
            <a:lnSpc>
              <a:spcPct val="90000"/>
            </a:lnSpc>
            <a:spcBef>
              <a:spcPct val="0"/>
            </a:spcBef>
            <a:spcAft>
              <a:spcPct val="35000"/>
            </a:spcAft>
          </a:pPr>
          <a:r>
            <a:rPr lang="en-GB" sz="1900" kern="1200" smtClean="0">
              <a:latin typeface="Gill Sans MT" pitchFamily="34" charset="0"/>
            </a:rPr>
            <a:t>Knowing which words and phrases to use, and using them</a:t>
          </a:r>
          <a:endParaRPr lang="en-GB" sz="1900" kern="1200">
            <a:latin typeface="Gill Sans MT" pitchFamily="34" charset="0"/>
          </a:endParaRPr>
        </a:p>
      </dsp:txBody>
      <dsp:txXfrm>
        <a:off x="1839228" y="748075"/>
        <a:ext cx="6715321" cy="649892"/>
      </dsp:txXfrm>
    </dsp:sp>
    <dsp:sp modelId="{A7895E65-A1C8-4866-A3C7-8B813634C15C}">
      <dsp:nvSpPr>
        <dsp:cNvPr id="0" name=""/>
        <dsp:cNvSpPr/>
      </dsp:nvSpPr>
      <dsp:spPr>
        <a:xfrm>
          <a:off x="1710910" y="1397967"/>
          <a:ext cx="6843640"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4E9529-8761-4798-B5F3-2D5A4B30037E}">
      <dsp:nvSpPr>
        <dsp:cNvPr id="0" name=""/>
        <dsp:cNvSpPr/>
      </dsp:nvSpPr>
      <dsp:spPr>
        <a:xfrm>
          <a:off x="0" y="1431160"/>
          <a:ext cx="8554550" cy="0"/>
        </a:xfrm>
        <a:prstGeom prst="line">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FF23C2D-1F37-4BEE-B4B4-2C63899DF2D4}">
      <dsp:nvSpPr>
        <dsp:cNvPr id="0" name=""/>
        <dsp:cNvSpPr/>
      </dsp:nvSpPr>
      <dsp:spPr>
        <a:xfrm>
          <a:off x="0" y="1431160"/>
          <a:ext cx="1710910" cy="715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lvl="0" algn="l" defTabSz="1333500" rtl="0">
            <a:lnSpc>
              <a:spcPct val="90000"/>
            </a:lnSpc>
            <a:spcBef>
              <a:spcPct val="0"/>
            </a:spcBef>
            <a:spcAft>
              <a:spcPct val="35000"/>
            </a:spcAft>
          </a:pPr>
          <a:r>
            <a:rPr lang="en-GB" sz="3000" kern="1200" smtClean="0">
              <a:latin typeface="Gill Sans MT" pitchFamily="34" charset="0"/>
            </a:rPr>
            <a:t>Physical</a:t>
          </a:r>
          <a:endParaRPr lang="en-GB" sz="3000" kern="1200">
            <a:latin typeface="Gill Sans MT" pitchFamily="34" charset="0"/>
          </a:endParaRPr>
        </a:p>
      </dsp:txBody>
      <dsp:txXfrm>
        <a:off x="0" y="1431160"/>
        <a:ext cx="1710910" cy="715580"/>
      </dsp:txXfrm>
    </dsp:sp>
    <dsp:sp modelId="{3F7F7AA1-6E54-49E8-BE39-F2DEE27E612B}">
      <dsp:nvSpPr>
        <dsp:cNvPr id="0" name=""/>
        <dsp:cNvSpPr/>
      </dsp:nvSpPr>
      <dsp:spPr>
        <a:xfrm>
          <a:off x="1839228" y="1463655"/>
          <a:ext cx="6715321" cy="649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rtl="0">
            <a:lnSpc>
              <a:spcPct val="90000"/>
            </a:lnSpc>
            <a:spcBef>
              <a:spcPct val="0"/>
            </a:spcBef>
            <a:spcAft>
              <a:spcPct val="35000"/>
            </a:spcAft>
          </a:pPr>
          <a:r>
            <a:rPr lang="en-GB" sz="1900" kern="1200" smtClean="0">
              <a:latin typeface="Gill Sans MT" pitchFamily="34" charset="0"/>
            </a:rPr>
            <a:t>Making yourself heard, using your voice and body as an instrument</a:t>
          </a:r>
          <a:endParaRPr lang="en-GB" sz="1900" kern="1200">
            <a:latin typeface="Gill Sans MT" pitchFamily="34" charset="0"/>
          </a:endParaRPr>
        </a:p>
      </dsp:txBody>
      <dsp:txXfrm>
        <a:off x="1839228" y="1463655"/>
        <a:ext cx="6715321" cy="649892"/>
      </dsp:txXfrm>
    </dsp:sp>
    <dsp:sp modelId="{66322A0D-7DC4-460F-856B-FCFA0F67601D}">
      <dsp:nvSpPr>
        <dsp:cNvPr id="0" name=""/>
        <dsp:cNvSpPr/>
      </dsp:nvSpPr>
      <dsp:spPr>
        <a:xfrm>
          <a:off x="1710910" y="2113548"/>
          <a:ext cx="6843640"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7ACE712-2EFF-4CD9-8B01-FA031FFD6815}">
      <dsp:nvSpPr>
        <dsp:cNvPr id="0" name=""/>
        <dsp:cNvSpPr/>
      </dsp:nvSpPr>
      <dsp:spPr>
        <a:xfrm>
          <a:off x="0" y="2146741"/>
          <a:ext cx="8554550" cy="0"/>
        </a:xfrm>
        <a:prstGeom prst="line">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8B4C15-6314-419D-AAFF-C47A9362F8E5}">
      <dsp:nvSpPr>
        <dsp:cNvPr id="0" name=""/>
        <dsp:cNvSpPr/>
      </dsp:nvSpPr>
      <dsp:spPr>
        <a:xfrm>
          <a:off x="0" y="2146741"/>
          <a:ext cx="1710910" cy="715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lvl="0" algn="l" defTabSz="1333500" rtl="0">
            <a:lnSpc>
              <a:spcPct val="90000"/>
            </a:lnSpc>
            <a:spcBef>
              <a:spcPct val="0"/>
            </a:spcBef>
            <a:spcAft>
              <a:spcPct val="35000"/>
            </a:spcAft>
          </a:pPr>
          <a:r>
            <a:rPr lang="en-GB" sz="3000" kern="1200" smtClean="0">
              <a:latin typeface="Gill Sans MT" pitchFamily="34" charset="0"/>
            </a:rPr>
            <a:t>Social</a:t>
          </a:r>
          <a:endParaRPr lang="en-GB" sz="3000" kern="1200">
            <a:latin typeface="Gill Sans MT" pitchFamily="34" charset="0"/>
          </a:endParaRPr>
        </a:p>
      </dsp:txBody>
      <dsp:txXfrm>
        <a:off x="0" y="2146741"/>
        <a:ext cx="1710910" cy="715580"/>
      </dsp:txXfrm>
    </dsp:sp>
    <dsp:sp modelId="{86E44EAD-CE9C-4055-A26C-077F9139D7A1}">
      <dsp:nvSpPr>
        <dsp:cNvPr id="0" name=""/>
        <dsp:cNvSpPr/>
      </dsp:nvSpPr>
      <dsp:spPr>
        <a:xfrm>
          <a:off x="1839228" y="2179236"/>
          <a:ext cx="6715321" cy="649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rtl="0">
            <a:lnSpc>
              <a:spcPct val="90000"/>
            </a:lnSpc>
            <a:spcBef>
              <a:spcPct val="0"/>
            </a:spcBef>
            <a:spcAft>
              <a:spcPct val="35000"/>
            </a:spcAft>
          </a:pPr>
          <a:r>
            <a:rPr lang="en-GB" sz="1900" kern="1200" dirty="0" smtClean="0">
              <a:latin typeface="Gill Sans MT" pitchFamily="34" charset="0"/>
            </a:rPr>
            <a:t>Engaging with the people around you; knowing you have the right to speak</a:t>
          </a:r>
          <a:endParaRPr lang="en-GB" sz="1900" kern="1200" dirty="0">
            <a:latin typeface="Gill Sans MT" pitchFamily="34" charset="0"/>
          </a:endParaRPr>
        </a:p>
      </dsp:txBody>
      <dsp:txXfrm>
        <a:off x="1839228" y="2179236"/>
        <a:ext cx="6715321" cy="649892"/>
      </dsp:txXfrm>
    </dsp:sp>
    <dsp:sp modelId="{206B7B6B-8E9F-4A1D-A3E3-22CFF2673134}">
      <dsp:nvSpPr>
        <dsp:cNvPr id="0" name=""/>
        <dsp:cNvSpPr/>
      </dsp:nvSpPr>
      <dsp:spPr>
        <a:xfrm>
          <a:off x="1710910" y="2829128"/>
          <a:ext cx="6843640" cy="0"/>
        </a:xfrm>
        <a:prstGeom prst="line">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D412B7-1F99-4587-BB5D-7F44992223A7}">
      <dsp:nvSpPr>
        <dsp:cNvPr id="0" name=""/>
        <dsp:cNvSpPr/>
      </dsp:nvSpPr>
      <dsp:spPr>
        <a:xfrm>
          <a:off x="41" y="113478"/>
          <a:ext cx="3997414" cy="1094502"/>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rtl="0">
            <a:lnSpc>
              <a:spcPct val="90000"/>
            </a:lnSpc>
            <a:spcBef>
              <a:spcPct val="0"/>
            </a:spcBef>
            <a:spcAft>
              <a:spcPct val="35000"/>
            </a:spcAft>
          </a:pPr>
          <a:r>
            <a:rPr lang="en-GB" sz="1400" b="1" kern="1200" dirty="0" smtClean="0"/>
            <a:t>There are </a:t>
          </a:r>
          <a:r>
            <a:rPr lang="en-GB" sz="1400" b="1" kern="1200" dirty="0" smtClean="0"/>
            <a:t>qualities which you could not go through the oracy curriculum without picking up. For instance:</a:t>
          </a:r>
          <a:endParaRPr lang="en-GB" sz="1400" kern="1200" dirty="0"/>
        </a:p>
      </dsp:txBody>
      <dsp:txXfrm>
        <a:off x="41" y="113478"/>
        <a:ext cx="3997414" cy="1094502"/>
      </dsp:txXfrm>
    </dsp:sp>
    <dsp:sp modelId="{C04D0C27-2AC6-4983-BFE5-4FD521ED510A}">
      <dsp:nvSpPr>
        <dsp:cNvPr id="0" name=""/>
        <dsp:cNvSpPr/>
      </dsp:nvSpPr>
      <dsp:spPr>
        <a:xfrm>
          <a:off x="41" y="1207981"/>
          <a:ext cx="3997414" cy="1076039"/>
        </a:xfrm>
        <a:prstGeom prst="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GB" sz="1400" kern="1200" smtClean="0"/>
            <a:t>Flexibility and adaptability</a:t>
          </a:r>
          <a:endParaRPr lang="en-GB" sz="1400" kern="1200"/>
        </a:p>
        <a:p>
          <a:pPr marL="114300" lvl="1" indent="-114300" algn="l" defTabSz="622300" rtl="0">
            <a:lnSpc>
              <a:spcPct val="90000"/>
            </a:lnSpc>
            <a:spcBef>
              <a:spcPct val="0"/>
            </a:spcBef>
            <a:spcAft>
              <a:spcPct val="15000"/>
            </a:spcAft>
            <a:buChar char="••"/>
          </a:pPr>
          <a:r>
            <a:rPr lang="en-GB" sz="1400" kern="1200" smtClean="0"/>
            <a:t>Situational awareness</a:t>
          </a:r>
          <a:endParaRPr lang="en-GB" sz="1400" kern="1200"/>
        </a:p>
        <a:p>
          <a:pPr marL="114300" lvl="1" indent="-114300" algn="l" defTabSz="622300" rtl="0">
            <a:lnSpc>
              <a:spcPct val="90000"/>
            </a:lnSpc>
            <a:spcBef>
              <a:spcPct val="0"/>
            </a:spcBef>
            <a:spcAft>
              <a:spcPct val="15000"/>
            </a:spcAft>
            <a:buChar char="••"/>
          </a:pPr>
          <a:r>
            <a:rPr lang="en-GB" sz="1400" kern="1200" smtClean="0"/>
            <a:t>Confidence</a:t>
          </a:r>
          <a:endParaRPr lang="en-GB" sz="1400" kern="1200"/>
        </a:p>
        <a:p>
          <a:pPr marL="114300" lvl="1" indent="-114300" algn="l" defTabSz="622300" rtl="0">
            <a:lnSpc>
              <a:spcPct val="90000"/>
            </a:lnSpc>
            <a:spcBef>
              <a:spcPct val="0"/>
            </a:spcBef>
            <a:spcAft>
              <a:spcPct val="15000"/>
            </a:spcAft>
            <a:buChar char="••"/>
          </a:pPr>
          <a:r>
            <a:rPr lang="en-GB" sz="1400" kern="1200" smtClean="0"/>
            <a:t>Active participation in discussion</a:t>
          </a:r>
          <a:endParaRPr lang="en-GB" sz="1400" kern="1200"/>
        </a:p>
      </dsp:txBody>
      <dsp:txXfrm>
        <a:off x="41" y="1207981"/>
        <a:ext cx="3997414" cy="1076039"/>
      </dsp:txXfrm>
    </dsp:sp>
    <dsp:sp modelId="{70F659DF-F9B1-4E76-B02C-9D1E56DBFF46}">
      <dsp:nvSpPr>
        <dsp:cNvPr id="0" name=""/>
        <dsp:cNvSpPr/>
      </dsp:nvSpPr>
      <dsp:spPr>
        <a:xfrm>
          <a:off x="4557093" y="113478"/>
          <a:ext cx="3997414" cy="1094502"/>
        </a:xfrm>
        <a:prstGeom prst="rect">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rtl="0">
            <a:lnSpc>
              <a:spcPct val="90000"/>
            </a:lnSpc>
            <a:spcBef>
              <a:spcPct val="0"/>
            </a:spcBef>
            <a:spcAft>
              <a:spcPct val="35000"/>
            </a:spcAft>
          </a:pPr>
          <a:r>
            <a:rPr lang="en-GB" sz="1400" b="1" kern="1200" dirty="0" smtClean="0"/>
            <a:t>There are things which you would want someone with good oracy to be able to do, but in order to do them they would use the skills set out in the framework. They could form learning objectives in the curriculum. For instance:</a:t>
          </a:r>
          <a:endParaRPr lang="en-GB" sz="1400" kern="1200" dirty="0"/>
        </a:p>
      </dsp:txBody>
      <dsp:txXfrm>
        <a:off x="4557093" y="113478"/>
        <a:ext cx="3997414" cy="1094502"/>
      </dsp:txXfrm>
    </dsp:sp>
    <dsp:sp modelId="{91CBDC5C-CC8E-470F-A68C-1F2B663DB02A}">
      <dsp:nvSpPr>
        <dsp:cNvPr id="0" name=""/>
        <dsp:cNvSpPr/>
      </dsp:nvSpPr>
      <dsp:spPr>
        <a:xfrm>
          <a:off x="4557093" y="1207981"/>
          <a:ext cx="3997414" cy="1076039"/>
        </a:xfrm>
        <a:prstGeom prst="rect">
          <a:avLst/>
        </a:prstGeom>
        <a:solidFill>
          <a:schemeClr val="lt1">
            <a:alpha val="90000"/>
            <a:tint val="4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GB" sz="1400" kern="1200" dirty="0" smtClean="0"/>
            <a:t>Starting and maintaining a conversation</a:t>
          </a:r>
          <a:endParaRPr lang="en-GB" sz="1400" kern="1200" dirty="0"/>
        </a:p>
        <a:p>
          <a:pPr marL="114300" lvl="1" indent="-114300" algn="l" defTabSz="622300" rtl="0">
            <a:lnSpc>
              <a:spcPct val="90000"/>
            </a:lnSpc>
            <a:spcBef>
              <a:spcPct val="0"/>
            </a:spcBef>
            <a:spcAft>
              <a:spcPct val="15000"/>
            </a:spcAft>
            <a:buChar char="••"/>
          </a:pPr>
          <a:r>
            <a:rPr lang="en-GB" sz="1400" kern="1200" smtClean="0"/>
            <a:t>Facing an unfamiliar audience</a:t>
          </a:r>
          <a:endParaRPr lang="en-GB" sz="1400" kern="1200"/>
        </a:p>
        <a:p>
          <a:pPr marL="114300" lvl="1" indent="-114300" algn="l" defTabSz="622300" rtl="0">
            <a:lnSpc>
              <a:spcPct val="90000"/>
            </a:lnSpc>
            <a:spcBef>
              <a:spcPct val="0"/>
            </a:spcBef>
            <a:spcAft>
              <a:spcPct val="15000"/>
            </a:spcAft>
            <a:buChar char="••"/>
          </a:pPr>
          <a:r>
            <a:rPr lang="en-GB" sz="1400" kern="1200" smtClean="0"/>
            <a:t>Persuading</a:t>
          </a:r>
          <a:endParaRPr lang="en-GB" sz="1400" kern="1200"/>
        </a:p>
      </dsp:txBody>
      <dsp:txXfrm>
        <a:off x="4557093" y="1207981"/>
        <a:ext cx="3997414" cy="107603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8DCDFC-3F88-4BF9-AD9C-F80D0CBF1F0E}">
      <dsp:nvSpPr>
        <dsp:cNvPr id="0" name=""/>
        <dsp:cNvSpPr/>
      </dsp:nvSpPr>
      <dsp:spPr>
        <a:xfrm>
          <a:off x="0" y="371171"/>
          <a:ext cx="2446892" cy="257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33020" rIns="92456" bIns="33020" numCol="1" spcCol="1270" anchor="ctr" anchorCtr="0">
          <a:noAutofit/>
        </a:bodyPr>
        <a:lstStyle/>
        <a:p>
          <a:pPr lvl="0" algn="r" defTabSz="577850" rtl="0">
            <a:lnSpc>
              <a:spcPct val="90000"/>
            </a:lnSpc>
            <a:spcBef>
              <a:spcPct val="0"/>
            </a:spcBef>
            <a:spcAft>
              <a:spcPct val="35000"/>
            </a:spcAft>
          </a:pPr>
          <a:r>
            <a:rPr lang="en-GB" sz="1300" b="1" kern="1200" dirty="0" smtClean="0"/>
            <a:t>Production features</a:t>
          </a:r>
          <a:endParaRPr lang="en-GB" sz="1300" kern="1200" dirty="0"/>
        </a:p>
      </dsp:txBody>
      <dsp:txXfrm>
        <a:off x="0" y="371171"/>
        <a:ext cx="2446892" cy="257400"/>
      </dsp:txXfrm>
    </dsp:sp>
    <dsp:sp modelId="{3B0FB810-CB61-4700-989A-712996FDC084}">
      <dsp:nvSpPr>
        <dsp:cNvPr id="0" name=""/>
        <dsp:cNvSpPr/>
      </dsp:nvSpPr>
      <dsp:spPr>
        <a:xfrm>
          <a:off x="2446892" y="266602"/>
          <a:ext cx="489378" cy="466537"/>
        </a:xfrm>
        <a:prstGeom prst="leftBrace">
          <a:avLst>
            <a:gd name="adj1" fmla="val 35000"/>
            <a:gd name="adj2" fmla="val 50000"/>
          </a:avLst>
        </a:prstGeom>
        <a:noFill/>
        <a:ln w="25400" cap="flat" cmpd="sng" algn="ctr">
          <a:solidFill>
            <a:schemeClr val="accent4">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12782E7-EF0A-4FE6-8097-AA9A7D1D6387}">
      <dsp:nvSpPr>
        <dsp:cNvPr id="0" name=""/>
        <dsp:cNvSpPr/>
      </dsp:nvSpPr>
      <dsp:spPr>
        <a:xfrm>
          <a:off x="3132021" y="266602"/>
          <a:ext cx="6655546" cy="466537"/>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114300" lvl="1" indent="-114300" algn="l" defTabSz="577850" rtl="0">
            <a:lnSpc>
              <a:spcPct val="90000"/>
            </a:lnSpc>
            <a:spcBef>
              <a:spcPct val="0"/>
            </a:spcBef>
            <a:spcAft>
              <a:spcPct val="15000"/>
            </a:spcAft>
            <a:buChar char="••"/>
          </a:pPr>
          <a:r>
            <a:rPr lang="en-GB" sz="1300" kern="1200" dirty="0" smtClean="0"/>
            <a:t>These are to do with overcoming obstacles to expression: volume, enunciation, etc. ‘Production’ is intended to emphasise how these are skills of voice production, as distinct from intention.</a:t>
          </a:r>
          <a:endParaRPr lang="en-GB" sz="1300" kern="1200" dirty="0"/>
        </a:p>
      </dsp:txBody>
      <dsp:txXfrm>
        <a:off x="3132021" y="266602"/>
        <a:ext cx="6655546" cy="466537"/>
      </dsp:txXfrm>
    </dsp:sp>
    <dsp:sp modelId="{B3D5B97C-167A-4058-827A-7F1CBBCEB5BB}">
      <dsp:nvSpPr>
        <dsp:cNvPr id="0" name=""/>
        <dsp:cNvSpPr/>
      </dsp:nvSpPr>
      <dsp:spPr>
        <a:xfrm>
          <a:off x="0" y="792006"/>
          <a:ext cx="2446892" cy="257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33020" rIns="92456" bIns="33020" numCol="1" spcCol="1270" anchor="ctr" anchorCtr="0">
          <a:noAutofit/>
        </a:bodyPr>
        <a:lstStyle/>
        <a:p>
          <a:pPr lvl="0" algn="r" defTabSz="577850" rtl="0">
            <a:lnSpc>
              <a:spcPct val="90000"/>
            </a:lnSpc>
            <a:spcBef>
              <a:spcPct val="0"/>
            </a:spcBef>
            <a:spcAft>
              <a:spcPct val="35000"/>
            </a:spcAft>
          </a:pPr>
          <a:r>
            <a:rPr lang="en-GB" sz="1300" b="1" kern="1200" smtClean="0"/>
            <a:t>Use</a:t>
          </a:r>
          <a:endParaRPr lang="en-GB" sz="1300" kern="1200"/>
        </a:p>
      </dsp:txBody>
      <dsp:txXfrm>
        <a:off x="0" y="792006"/>
        <a:ext cx="2446892" cy="257400"/>
      </dsp:txXfrm>
    </dsp:sp>
    <dsp:sp modelId="{4B17E53E-E0B1-47AE-B7F2-C404DDB22A72}">
      <dsp:nvSpPr>
        <dsp:cNvPr id="0" name=""/>
        <dsp:cNvSpPr/>
      </dsp:nvSpPr>
      <dsp:spPr>
        <a:xfrm>
          <a:off x="2446892" y="779940"/>
          <a:ext cx="489378" cy="281531"/>
        </a:xfrm>
        <a:prstGeom prst="leftBrace">
          <a:avLst>
            <a:gd name="adj1" fmla="val 35000"/>
            <a:gd name="adj2" fmla="val 50000"/>
          </a:avLst>
        </a:prstGeom>
        <a:noFill/>
        <a:ln w="25400" cap="flat" cmpd="sng" algn="ctr">
          <a:solidFill>
            <a:schemeClr val="accent4">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692A2B6-C472-4348-9AF3-BF71D6EBD7E8}">
      <dsp:nvSpPr>
        <dsp:cNvPr id="0" name=""/>
        <dsp:cNvSpPr/>
      </dsp:nvSpPr>
      <dsp:spPr>
        <a:xfrm>
          <a:off x="3132021" y="779940"/>
          <a:ext cx="6655546" cy="281531"/>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114300" lvl="1" indent="-114300" algn="l" defTabSz="577850" rtl="0">
            <a:lnSpc>
              <a:spcPct val="90000"/>
            </a:lnSpc>
            <a:spcBef>
              <a:spcPct val="0"/>
            </a:spcBef>
            <a:spcAft>
              <a:spcPct val="15000"/>
            </a:spcAft>
            <a:buChar char="••"/>
          </a:pPr>
          <a:r>
            <a:rPr lang="en-GB" sz="1300" kern="1200" smtClean="0"/>
            <a:t>The choice a speaker makes of vocabulary, syntax, etc. Distinct from knowledge of these things.</a:t>
          </a:r>
          <a:endParaRPr lang="en-GB" sz="1300" kern="1200"/>
        </a:p>
      </dsp:txBody>
      <dsp:txXfrm>
        <a:off x="3132021" y="779940"/>
        <a:ext cx="6655546" cy="281531"/>
      </dsp:txXfrm>
    </dsp:sp>
    <dsp:sp modelId="{D44C4DBA-19A2-4171-8537-D7FC97A892DD}">
      <dsp:nvSpPr>
        <dsp:cNvPr id="0" name=""/>
        <dsp:cNvSpPr/>
      </dsp:nvSpPr>
      <dsp:spPr>
        <a:xfrm>
          <a:off x="0" y="1486328"/>
          <a:ext cx="2446892" cy="257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33020" rIns="92456" bIns="33020" numCol="1" spcCol="1270" anchor="ctr" anchorCtr="0">
          <a:noAutofit/>
        </a:bodyPr>
        <a:lstStyle/>
        <a:p>
          <a:pPr lvl="0" algn="r" defTabSz="577850" rtl="0">
            <a:lnSpc>
              <a:spcPct val="90000"/>
            </a:lnSpc>
            <a:spcBef>
              <a:spcPct val="0"/>
            </a:spcBef>
            <a:spcAft>
              <a:spcPct val="35000"/>
            </a:spcAft>
          </a:pPr>
          <a:r>
            <a:rPr lang="en-GB" sz="1300" b="1" kern="1200" smtClean="0"/>
            <a:t>Rhetoric</a:t>
          </a:r>
          <a:endParaRPr lang="en-GB" sz="1300" kern="1200"/>
        </a:p>
      </dsp:txBody>
      <dsp:txXfrm>
        <a:off x="0" y="1486328"/>
        <a:ext cx="2446892" cy="257400"/>
      </dsp:txXfrm>
    </dsp:sp>
    <dsp:sp modelId="{D6D41EB6-58C0-4F0C-B55A-C141622920C3}">
      <dsp:nvSpPr>
        <dsp:cNvPr id="0" name=""/>
        <dsp:cNvSpPr/>
      </dsp:nvSpPr>
      <dsp:spPr>
        <a:xfrm>
          <a:off x="2446892" y="1108271"/>
          <a:ext cx="489378" cy="1013512"/>
        </a:xfrm>
        <a:prstGeom prst="leftBrace">
          <a:avLst>
            <a:gd name="adj1" fmla="val 35000"/>
            <a:gd name="adj2" fmla="val 50000"/>
          </a:avLst>
        </a:prstGeom>
        <a:noFill/>
        <a:ln w="25400" cap="flat" cmpd="sng" algn="ctr">
          <a:solidFill>
            <a:schemeClr val="accent4">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1B0E20-0012-473C-B7F1-1C0361285AAC}">
      <dsp:nvSpPr>
        <dsp:cNvPr id="0" name=""/>
        <dsp:cNvSpPr/>
      </dsp:nvSpPr>
      <dsp:spPr>
        <a:xfrm>
          <a:off x="3132021" y="1108271"/>
          <a:ext cx="6655546" cy="1013512"/>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114300" lvl="1" indent="-114300" algn="l" defTabSz="577850" rtl="0">
            <a:lnSpc>
              <a:spcPct val="90000"/>
            </a:lnSpc>
            <a:spcBef>
              <a:spcPct val="0"/>
            </a:spcBef>
            <a:spcAft>
              <a:spcPct val="15000"/>
            </a:spcAft>
            <a:buChar char="••"/>
          </a:pPr>
          <a:r>
            <a:rPr lang="en-GB" sz="1300" kern="1200" smtClean="0"/>
            <a:t>Taxonomy  for describing units of speech and the application of such units. Traditionally viewed as making language more vivid, effective, emphatic and so on. Rhetoric is a suite of tools for the organisation of language, usually at the level of a phrase, e.g. metaphor, alliteration,  anaphora, etc., all of which are used in everyday speech but which are more pronounced in more formalised utterances.</a:t>
          </a:r>
          <a:endParaRPr lang="en-GB" sz="1300" kern="1200"/>
        </a:p>
      </dsp:txBody>
      <dsp:txXfrm>
        <a:off x="3132021" y="1108271"/>
        <a:ext cx="6655546" cy="1013512"/>
      </dsp:txXfrm>
    </dsp:sp>
    <dsp:sp modelId="{C8CCDCD7-33A7-48DA-88B3-623029FE4EFC}">
      <dsp:nvSpPr>
        <dsp:cNvPr id="0" name=""/>
        <dsp:cNvSpPr/>
      </dsp:nvSpPr>
      <dsp:spPr>
        <a:xfrm>
          <a:off x="0" y="2273153"/>
          <a:ext cx="2446892" cy="257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33020" rIns="92456" bIns="33020" numCol="1" spcCol="1270" anchor="ctr" anchorCtr="0">
          <a:noAutofit/>
        </a:bodyPr>
        <a:lstStyle/>
        <a:p>
          <a:pPr lvl="0" algn="r" defTabSz="577850" rtl="0">
            <a:lnSpc>
              <a:spcPct val="90000"/>
            </a:lnSpc>
            <a:spcBef>
              <a:spcPct val="0"/>
            </a:spcBef>
            <a:spcAft>
              <a:spcPct val="35000"/>
            </a:spcAft>
          </a:pPr>
          <a:r>
            <a:rPr lang="en-GB" sz="1300" b="1" kern="1200" smtClean="0"/>
            <a:t>Structure</a:t>
          </a:r>
          <a:endParaRPr lang="en-GB" sz="1300" kern="1200"/>
        </a:p>
      </dsp:txBody>
      <dsp:txXfrm>
        <a:off x="0" y="2273153"/>
        <a:ext cx="2446892" cy="257400"/>
      </dsp:txXfrm>
    </dsp:sp>
    <dsp:sp modelId="{600EFFE7-C96A-4545-9DFF-BF14240AD4D1}">
      <dsp:nvSpPr>
        <dsp:cNvPr id="0" name=""/>
        <dsp:cNvSpPr/>
      </dsp:nvSpPr>
      <dsp:spPr>
        <a:xfrm>
          <a:off x="2446892" y="2168584"/>
          <a:ext cx="489378" cy="466537"/>
        </a:xfrm>
        <a:prstGeom prst="leftBrace">
          <a:avLst>
            <a:gd name="adj1" fmla="val 35000"/>
            <a:gd name="adj2" fmla="val 50000"/>
          </a:avLst>
        </a:prstGeom>
        <a:noFill/>
        <a:ln w="25400" cap="flat" cmpd="sng" algn="ctr">
          <a:solidFill>
            <a:schemeClr val="accent4">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CBBC68E-D633-411A-8270-52BD853310AE}">
      <dsp:nvSpPr>
        <dsp:cNvPr id="0" name=""/>
        <dsp:cNvSpPr/>
      </dsp:nvSpPr>
      <dsp:spPr>
        <a:xfrm>
          <a:off x="3132021" y="2168584"/>
          <a:ext cx="6655546" cy="466537"/>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114300" lvl="1" indent="-114300" algn="l" defTabSz="577850" rtl="0">
            <a:lnSpc>
              <a:spcPct val="90000"/>
            </a:lnSpc>
            <a:spcBef>
              <a:spcPct val="0"/>
            </a:spcBef>
            <a:spcAft>
              <a:spcPct val="15000"/>
            </a:spcAft>
            <a:buChar char="••"/>
          </a:pPr>
          <a:r>
            <a:rPr lang="en-GB" sz="1300" kern="1200" smtClean="0"/>
            <a:t>An example is beginning, middle and end; a more interesting performance might rearrange this order</a:t>
          </a:r>
          <a:endParaRPr lang="en-GB" sz="1300" kern="1200"/>
        </a:p>
      </dsp:txBody>
      <dsp:txXfrm>
        <a:off x="3132021" y="2168584"/>
        <a:ext cx="6655546" cy="466537"/>
      </dsp:txXfrm>
    </dsp:sp>
    <dsp:sp modelId="{94EA629E-5D5F-4328-9418-B3CD6702AF0A}">
      <dsp:nvSpPr>
        <dsp:cNvPr id="0" name=""/>
        <dsp:cNvSpPr/>
      </dsp:nvSpPr>
      <dsp:spPr>
        <a:xfrm>
          <a:off x="0" y="2693987"/>
          <a:ext cx="2449284" cy="257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33020" rIns="92456" bIns="33020" numCol="1" spcCol="1270" anchor="ctr" anchorCtr="0">
          <a:noAutofit/>
        </a:bodyPr>
        <a:lstStyle/>
        <a:p>
          <a:pPr lvl="0" algn="r" defTabSz="577850" rtl="0">
            <a:lnSpc>
              <a:spcPct val="90000"/>
            </a:lnSpc>
            <a:spcBef>
              <a:spcPct val="0"/>
            </a:spcBef>
            <a:spcAft>
              <a:spcPct val="35000"/>
            </a:spcAft>
          </a:pPr>
          <a:r>
            <a:rPr lang="en-GB" sz="1300" b="1" kern="1200" smtClean="0"/>
            <a:t>Argument</a:t>
          </a:r>
          <a:endParaRPr lang="en-GB" sz="1300" kern="1200"/>
        </a:p>
      </dsp:txBody>
      <dsp:txXfrm>
        <a:off x="0" y="2693987"/>
        <a:ext cx="2449284" cy="257400"/>
      </dsp:txXfrm>
    </dsp:sp>
    <dsp:sp modelId="{0AEE9D43-D8D9-4971-9217-1FE1D3699DEB}">
      <dsp:nvSpPr>
        <dsp:cNvPr id="0" name=""/>
        <dsp:cNvSpPr/>
      </dsp:nvSpPr>
      <dsp:spPr>
        <a:xfrm>
          <a:off x="2449283" y="2681921"/>
          <a:ext cx="489856" cy="281531"/>
        </a:xfrm>
        <a:prstGeom prst="leftBrace">
          <a:avLst>
            <a:gd name="adj1" fmla="val 35000"/>
            <a:gd name="adj2" fmla="val 50000"/>
          </a:avLst>
        </a:prstGeom>
        <a:noFill/>
        <a:ln w="25400" cap="flat" cmpd="sng" algn="ctr">
          <a:solidFill>
            <a:schemeClr val="accent4">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B94E9D-5890-4740-A0A4-50C519B3A241}">
      <dsp:nvSpPr>
        <dsp:cNvPr id="0" name=""/>
        <dsp:cNvSpPr/>
      </dsp:nvSpPr>
      <dsp:spPr>
        <a:xfrm>
          <a:off x="3135083" y="2681921"/>
          <a:ext cx="6662052" cy="281531"/>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114300" lvl="1" indent="-114300" algn="l" defTabSz="577850" rtl="0">
            <a:lnSpc>
              <a:spcPct val="90000"/>
            </a:lnSpc>
            <a:spcBef>
              <a:spcPct val="0"/>
            </a:spcBef>
            <a:spcAft>
              <a:spcPct val="15000"/>
            </a:spcAft>
            <a:buChar char="••"/>
          </a:pPr>
          <a:r>
            <a:rPr lang="en-GB" sz="1300" kern="1200" smtClean="0"/>
            <a:t>Logical validity of what you are saying</a:t>
          </a:r>
          <a:endParaRPr lang="en-GB" sz="1300" kern="1200"/>
        </a:p>
      </dsp:txBody>
      <dsp:txXfrm>
        <a:off x="3135083" y="2681921"/>
        <a:ext cx="6662052" cy="281531"/>
      </dsp:txXfrm>
    </dsp:sp>
    <dsp:sp modelId="{D9DA114F-CF5A-4969-8B79-F23A04D5ADAE}">
      <dsp:nvSpPr>
        <dsp:cNvPr id="0" name=""/>
        <dsp:cNvSpPr/>
      </dsp:nvSpPr>
      <dsp:spPr>
        <a:xfrm>
          <a:off x="0" y="3203303"/>
          <a:ext cx="2446892" cy="257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33020" rIns="92456" bIns="33020" numCol="1" spcCol="1270" anchor="ctr" anchorCtr="0">
          <a:noAutofit/>
        </a:bodyPr>
        <a:lstStyle/>
        <a:p>
          <a:pPr lvl="0" algn="r" defTabSz="577850" rtl="0">
            <a:lnSpc>
              <a:spcPct val="90000"/>
            </a:lnSpc>
            <a:spcBef>
              <a:spcPct val="0"/>
            </a:spcBef>
            <a:spcAft>
              <a:spcPct val="35000"/>
            </a:spcAft>
          </a:pPr>
          <a:r>
            <a:rPr lang="en-GB" sz="1300" b="1" kern="1200" smtClean="0"/>
            <a:t>Turn-taking</a:t>
          </a:r>
          <a:endParaRPr lang="en-GB" sz="1300" kern="1200"/>
        </a:p>
      </dsp:txBody>
      <dsp:txXfrm>
        <a:off x="0" y="3203303"/>
        <a:ext cx="2446892" cy="257400"/>
      </dsp:txXfrm>
    </dsp:sp>
    <dsp:sp modelId="{7FBEB457-BAAE-412B-A369-D6ABF9C0EE40}">
      <dsp:nvSpPr>
        <dsp:cNvPr id="0" name=""/>
        <dsp:cNvSpPr/>
      </dsp:nvSpPr>
      <dsp:spPr>
        <a:xfrm>
          <a:off x="2446892" y="3010253"/>
          <a:ext cx="489378" cy="643500"/>
        </a:xfrm>
        <a:prstGeom prst="leftBrace">
          <a:avLst>
            <a:gd name="adj1" fmla="val 35000"/>
            <a:gd name="adj2" fmla="val 50000"/>
          </a:avLst>
        </a:prstGeom>
        <a:noFill/>
        <a:ln w="25400" cap="flat" cmpd="sng" algn="ctr">
          <a:solidFill>
            <a:schemeClr val="accent4">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EE9A0-42B8-4D09-AF6E-A8AD8C767F65}">
      <dsp:nvSpPr>
        <dsp:cNvPr id="0" name=""/>
        <dsp:cNvSpPr/>
      </dsp:nvSpPr>
      <dsp:spPr>
        <a:xfrm>
          <a:off x="3132021" y="3010253"/>
          <a:ext cx="6655546" cy="643500"/>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114300" lvl="1" indent="-114300" algn="l" defTabSz="577850" rtl="0">
            <a:lnSpc>
              <a:spcPct val="90000"/>
            </a:lnSpc>
            <a:spcBef>
              <a:spcPct val="0"/>
            </a:spcBef>
            <a:spcAft>
              <a:spcPct val="15000"/>
            </a:spcAft>
            <a:buChar char="••"/>
          </a:pPr>
          <a:r>
            <a:rPr lang="en-GB" sz="1300" kern="1200" smtClean="0"/>
            <a:t>‘Turns-at-talk’ refers to how we know when one segment of a conversation has ended and another can legitimately begin. It is more fundamental than politeness, more like the vocal equivalent for how even in the busiest streets people don’t bump into each other.</a:t>
          </a:r>
          <a:endParaRPr lang="en-GB" sz="1300" kern="1200"/>
        </a:p>
      </dsp:txBody>
      <dsp:txXfrm>
        <a:off x="3132021" y="3010253"/>
        <a:ext cx="6655546" cy="6435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diagrams.loki3.com/BracketList+Icon">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088303B-F5BB-47E4-A88D-E252917EAB57}" type="datetimeFigureOut">
              <a:rPr lang="en-GB" smtClean="0"/>
              <a:t>03/06/2013</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A9CB9EA-359C-4CD0-B842-0A0059FA0099}" type="slidenum">
              <a:rPr lang="en-GB" smtClean="0"/>
              <a:t>‹#›</a:t>
            </a:fld>
            <a:endParaRPr lang="en-GB"/>
          </a:p>
        </p:txBody>
      </p:sp>
    </p:spTree>
    <p:extLst>
      <p:ext uri="{BB962C8B-B14F-4D97-AF65-F5344CB8AC3E}">
        <p14:creationId xmlns:p14="http://schemas.microsoft.com/office/powerpoint/2010/main" val="2712130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A9CB9EA-359C-4CD0-B842-0A0059FA0099}" type="slidenum">
              <a:rPr lang="en-GB" smtClean="0"/>
              <a:t>6</a:t>
            </a:fld>
            <a:endParaRPr lang="en-GB"/>
          </a:p>
        </p:txBody>
      </p:sp>
    </p:spTree>
    <p:extLst>
      <p:ext uri="{BB962C8B-B14F-4D97-AF65-F5344CB8AC3E}">
        <p14:creationId xmlns:p14="http://schemas.microsoft.com/office/powerpoint/2010/main" val="200793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Shape 9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7" name="Shape 97"/>
          <p:cNvSpPr txBox="1">
            <a:spLocks noGrp="1"/>
          </p:cNvSpPr>
          <p:nvPr>
            <p:ph type="body" idx="1"/>
          </p:nvPr>
        </p:nvSpPr>
        <p:spPr>
          <a:xfrm>
            <a:off x="685802" y="4343400"/>
            <a:ext cx="5486399" cy="4114800"/>
          </a:xfrm>
          <a:prstGeom prst="rect">
            <a:avLst/>
          </a:prstGeom>
        </p:spPr>
        <p:txBody>
          <a:bodyPr lIns="91425" tIns="91425" rIns="91425" bIns="91425" anchor="t" anchorCtr="0">
            <a:noAutofit/>
          </a:bodyPr>
          <a:lstStyle/>
          <a:p>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ED05C009-03C3-48C2-B10F-373F9D271E3D}" type="datetimeFigureOut">
              <a:rPr lang="en-GB" smtClean="0"/>
              <a:t>03/06/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38933278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D05C009-03C3-48C2-B10F-373F9D271E3D}" type="datetimeFigureOut">
              <a:rPr lang="en-GB" smtClean="0"/>
              <a:t>03/06/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1971243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D05C009-03C3-48C2-B10F-373F9D271E3D}" type="datetimeFigureOut">
              <a:rPr lang="en-GB" smtClean="0"/>
              <a:t>03/06/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2029620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custDataLst>
              <p:tags r:id="rId1"/>
            </p:custDataLst>
          </p:nvPr>
        </p:nvSpPr>
        <p:spPr/>
        <p:txBody>
          <a:bodyPr/>
          <a:lstStyle>
            <a:lvl1pPr>
              <a:defRPr/>
            </a:lvl1pPr>
          </a:lstStyle>
          <a:p>
            <a:pPr>
              <a:defRPr/>
            </a:pPr>
            <a:fld id="{A9DC4CA6-34FB-47F4-9462-FB34E4E9B013}" type="datetimeFigureOut">
              <a:rPr lang="en-GB">
                <a:solidFill>
                  <a:srgbClr val="000000">
                    <a:tint val="75000"/>
                  </a:srgbClr>
                </a:solidFill>
              </a:rPr>
              <a:pPr>
                <a:defRPr/>
              </a:pPr>
              <a:t>03/06/2013</a:t>
            </a:fld>
            <a:endParaRPr lang="en-GB">
              <a:solidFill>
                <a:srgbClr val="000000">
                  <a:tint val="75000"/>
                </a:srgbClr>
              </a:solidFill>
            </a:endParaRPr>
          </a:p>
        </p:txBody>
      </p:sp>
      <p:sp>
        <p:nvSpPr>
          <p:cNvPr id="5"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6" name="Slide Number Placeholder 5"/>
          <p:cNvSpPr>
            <a:spLocks noGrp="1"/>
          </p:cNvSpPr>
          <p:nvPr>
            <p:ph type="sldNum" sz="quarter" idx="12"/>
            <p:custDataLst>
              <p:tags r:id="rId3"/>
            </p:custDataLst>
          </p:nvPr>
        </p:nvSpPr>
        <p:spPr/>
        <p:txBody>
          <a:bodyPr/>
          <a:lstStyle>
            <a:lvl1pPr>
              <a:defRPr/>
            </a:lvl1pPr>
          </a:lstStyle>
          <a:p>
            <a:pPr>
              <a:defRPr/>
            </a:pPr>
            <a:fld id="{EA757964-9D13-4A8A-B08E-FB724A2A0DF1}"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14865005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5"/>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custDataLst>
              <p:tags r:id="rId1"/>
            </p:custDataLst>
          </p:nvPr>
        </p:nvSpPr>
        <p:spPr/>
        <p:txBody>
          <a:bodyPr/>
          <a:lstStyle>
            <a:lvl1pPr>
              <a:defRPr/>
            </a:lvl1pPr>
          </a:lstStyle>
          <a:p>
            <a:pPr>
              <a:defRPr/>
            </a:pPr>
            <a:fld id="{EC8EEBB5-6620-4A65-AFF4-DAF571591CF9}" type="datetimeFigureOut">
              <a:rPr lang="en-GB">
                <a:solidFill>
                  <a:srgbClr val="000000">
                    <a:tint val="75000"/>
                  </a:srgbClr>
                </a:solidFill>
              </a:rPr>
              <a:pPr>
                <a:defRPr/>
              </a:pPr>
              <a:t>03/06/2013</a:t>
            </a:fld>
            <a:endParaRPr lang="en-GB">
              <a:solidFill>
                <a:srgbClr val="000000">
                  <a:tint val="75000"/>
                </a:srgbClr>
              </a:solidFill>
            </a:endParaRPr>
          </a:p>
        </p:txBody>
      </p:sp>
      <p:sp>
        <p:nvSpPr>
          <p:cNvPr id="5"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6" name="Slide Number Placeholder 5"/>
          <p:cNvSpPr>
            <a:spLocks noGrp="1"/>
          </p:cNvSpPr>
          <p:nvPr>
            <p:ph type="sldNum" sz="quarter" idx="12"/>
            <p:custDataLst>
              <p:tags r:id="rId3"/>
            </p:custDataLst>
          </p:nvPr>
        </p:nvSpPr>
        <p:spPr/>
        <p:txBody>
          <a:bodyPr/>
          <a:lstStyle>
            <a:lvl1pPr>
              <a:defRPr/>
            </a:lvl1pPr>
          </a:lstStyle>
          <a:p>
            <a:pPr>
              <a:defRPr/>
            </a:pPr>
            <a:fld id="{D44112CB-98AD-4DF9-86F4-BD746C50CA2A}"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30507268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custDataLst>
              <p:tags r:id="rId1"/>
            </p:custDataLst>
          </p:nvPr>
        </p:nvSpPr>
        <p:spPr/>
        <p:txBody>
          <a:bodyPr/>
          <a:lstStyle>
            <a:lvl1pPr>
              <a:defRPr/>
            </a:lvl1pPr>
          </a:lstStyle>
          <a:p>
            <a:pPr>
              <a:defRPr/>
            </a:pPr>
            <a:fld id="{A2B9923F-BBC9-449D-AD61-1B50CA1243D8}" type="datetimeFigureOut">
              <a:rPr lang="en-GB">
                <a:solidFill>
                  <a:srgbClr val="000000">
                    <a:tint val="75000"/>
                  </a:srgbClr>
                </a:solidFill>
              </a:rPr>
              <a:pPr>
                <a:defRPr/>
              </a:pPr>
              <a:t>03/06/2013</a:t>
            </a:fld>
            <a:endParaRPr lang="en-GB">
              <a:solidFill>
                <a:srgbClr val="000000">
                  <a:tint val="75000"/>
                </a:srgbClr>
              </a:solidFill>
            </a:endParaRPr>
          </a:p>
        </p:txBody>
      </p:sp>
      <p:sp>
        <p:nvSpPr>
          <p:cNvPr id="5"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6" name="Slide Number Placeholder 5"/>
          <p:cNvSpPr>
            <a:spLocks noGrp="1"/>
          </p:cNvSpPr>
          <p:nvPr>
            <p:ph type="sldNum" sz="quarter" idx="12"/>
            <p:custDataLst>
              <p:tags r:id="rId3"/>
            </p:custDataLst>
          </p:nvPr>
        </p:nvSpPr>
        <p:spPr/>
        <p:txBody>
          <a:bodyPr/>
          <a:lstStyle>
            <a:lvl1pPr>
              <a:defRPr/>
            </a:lvl1pPr>
          </a:lstStyle>
          <a:p>
            <a:pPr>
              <a:defRPr/>
            </a:pPr>
            <a:fld id="{E0D5979C-77FC-4DA2-B71F-7F8E2C27D99D}"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22505922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custDataLst>
              <p:tags r:id="rId1"/>
            </p:custDataLst>
          </p:nvPr>
        </p:nvSpPr>
        <p:spPr/>
        <p:txBody>
          <a:bodyPr/>
          <a:lstStyle>
            <a:lvl1pPr>
              <a:defRPr/>
            </a:lvl1pPr>
          </a:lstStyle>
          <a:p>
            <a:pPr>
              <a:defRPr/>
            </a:pPr>
            <a:fld id="{3FCDFB14-97BC-4C1F-A264-99E84115C219}" type="datetimeFigureOut">
              <a:rPr lang="en-GB">
                <a:solidFill>
                  <a:srgbClr val="000000">
                    <a:tint val="75000"/>
                  </a:srgbClr>
                </a:solidFill>
              </a:rPr>
              <a:pPr>
                <a:defRPr/>
              </a:pPr>
              <a:t>03/06/2013</a:t>
            </a:fld>
            <a:endParaRPr lang="en-GB">
              <a:solidFill>
                <a:srgbClr val="000000">
                  <a:tint val="75000"/>
                </a:srgbClr>
              </a:solidFill>
            </a:endParaRPr>
          </a:p>
        </p:txBody>
      </p:sp>
      <p:sp>
        <p:nvSpPr>
          <p:cNvPr id="6"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7" name="Slide Number Placeholder 5"/>
          <p:cNvSpPr>
            <a:spLocks noGrp="1"/>
          </p:cNvSpPr>
          <p:nvPr>
            <p:ph type="sldNum" sz="quarter" idx="12"/>
            <p:custDataLst>
              <p:tags r:id="rId3"/>
            </p:custDataLst>
          </p:nvPr>
        </p:nvSpPr>
        <p:spPr/>
        <p:txBody>
          <a:bodyPr/>
          <a:lstStyle>
            <a:lvl1pPr>
              <a:defRPr/>
            </a:lvl1pPr>
          </a:lstStyle>
          <a:p>
            <a:pPr>
              <a:defRPr/>
            </a:pPr>
            <a:fld id="{1B74D05A-A806-48F6-B64D-83BD045475F1}"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7631762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custDataLst>
              <p:tags r:id="rId1"/>
            </p:custDataLst>
          </p:nvPr>
        </p:nvSpPr>
        <p:spPr/>
        <p:txBody>
          <a:bodyPr/>
          <a:lstStyle>
            <a:lvl1pPr>
              <a:defRPr/>
            </a:lvl1pPr>
          </a:lstStyle>
          <a:p>
            <a:pPr>
              <a:defRPr/>
            </a:pPr>
            <a:fld id="{1C00F64A-BBB2-4F6B-A0B2-55D8BB1D7B10}" type="datetimeFigureOut">
              <a:rPr lang="en-GB">
                <a:solidFill>
                  <a:srgbClr val="000000">
                    <a:tint val="75000"/>
                  </a:srgbClr>
                </a:solidFill>
              </a:rPr>
              <a:pPr>
                <a:defRPr/>
              </a:pPr>
              <a:t>03/06/2013</a:t>
            </a:fld>
            <a:endParaRPr lang="en-GB">
              <a:solidFill>
                <a:srgbClr val="000000">
                  <a:tint val="75000"/>
                </a:srgbClr>
              </a:solidFill>
            </a:endParaRPr>
          </a:p>
        </p:txBody>
      </p:sp>
      <p:sp>
        <p:nvSpPr>
          <p:cNvPr id="8"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9" name="Slide Number Placeholder 5"/>
          <p:cNvSpPr>
            <a:spLocks noGrp="1"/>
          </p:cNvSpPr>
          <p:nvPr>
            <p:ph type="sldNum" sz="quarter" idx="12"/>
            <p:custDataLst>
              <p:tags r:id="rId3"/>
            </p:custDataLst>
          </p:nvPr>
        </p:nvSpPr>
        <p:spPr/>
        <p:txBody>
          <a:bodyPr/>
          <a:lstStyle>
            <a:lvl1pPr>
              <a:defRPr/>
            </a:lvl1pPr>
          </a:lstStyle>
          <a:p>
            <a:pPr>
              <a:defRPr/>
            </a:pPr>
            <a:fld id="{E82023E9-5A2E-45A6-A4C0-2E71DBA07B65}"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8707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custDataLst>
              <p:tags r:id="rId1"/>
            </p:custDataLst>
          </p:nvPr>
        </p:nvSpPr>
        <p:spPr/>
        <p:txBody>
          <a:bodyPr/>
          <a:lstStyle>
            <a:lvl1pPr>
              <a:defRPr/>
            </a:lvl1pPr>
          </a:lstStyle>
          <a:p>
            <a:pPr>
              <a:defRPr/>
            </a:pPr>
            <a:fld id="{4E082781-3488-4825-9A0C-F2E1A0BF1A8C}" type="datetimeFigureOut">
              <a:rPr lang="en-GB">
                <a:solidFill>
                  <a:srgbClr val="000000">
                    <a:tint val="75000"/>
                  </a:srgbClr>
                </a:solidFill>
              </a:rPr>
              <a:pPr>
                <a:defRPr/>
              </a:pPr>
              <a:t>03/06/2013</a:t>
            </a:fld>
            <a:endParaRPr lang="en-GB">
              <a:solidFill>
                <a:srgbClr val="000000">
                  <a:tint val="75000"/>
                </a:srgbClr>
              </a:solidFill>
            </a:endParaRPr>
          </a:p>
        </p:txBody>
      </p:sp>
      <p:sp>
        <p:nvSpPr>
          <p:cNvPr id="4"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5" name="Slide Number Placeholder 5"/>
          <p:cNvSpPr>
            <a:spLocks noGrp="1"/>
          </p:cNvSpPr>
          <p:nvPr>
            <p:ph type="sldNum" sz="quarter" idx="12"/>
            <p:custDataLst>
              <p:tags r:id="rId3"/>
            </p:custDataLst>
          </p:nvPr>
        </p:nvSpPr>
        <p:spPr/>
        <p:txBody>
          <a:bodyPr/>
          <a:lstStyle>
            <a:lvl1pPr>
              <a:defRPr/>
            </a:lvl1pPr>
          </a:lstStyle>
          <a:p>
            <a:pPr>
              <a:defRPr/>
            </a:pPr>
            <a:fld id="{5C3FE397-EC23-459F-BFA1-2F8DB4D815E2}"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14823618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custDataLst>
              <p:tags r:id="rId1"/>
            </p:custDataLst>
          </p:nvPr>
        </p:nvSpPr>
        <p:spPr/>
        <p:txBody>
          <a:bodyPr/>
          <a:lstStyle>
            <a:lvl1pPr>
              <a:defRPr/>
            </a:lvl1pPr>
          </a:lstStyle>
          <a:p>
            <a:pPr>
              <a:defRPr/>
            </a:pPr>
            <a:fld id="{93F9359C-87FA-4BFE-BF86-2CA1B662E8ED}" type="datetimeFigureOut">
              <a:rPr lang="en-GB">
                <a:solidFill>
                  <a:srgbClr val="000000">
                    <a:tint val="75000"/>
                  </a:srgbClr>
                </a:solidFill>
              </a:rPr>
              <a:pPr>
                <a:defRPr/>
              </a:pPr>
              <a:t>03/06/2013</a:t>
            </a:fld>
            <a:endParaRPr lang="en-GB">
              <a:solidFill>
                <a:srgbClr val="000000">
                  <a:tint val="75000"/>
                </a:srgbClr>
              </a:solidFill>
            </a:endParaRPr>
          </a:p>
        </p:txBody>
      </p:sp>
      <p:sp>
        <p:nvSpPr>
          <p:cNvPr id="3"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4" name="Slide Number Placeholder 5"/>
          <p:cNvSpPr>
            <a:spLocks noGrp="1"/>
          </p:cNvSpPr>
          <p:nvPr>
            <p:ph type="sldNum" sz="quarter" idx="12"/>
            <p:custDataLst>
              <p:tags r:id="rId3"/>
            </p:custDataLst>
          </p:nvPr>
        </p:nvSpPr>
        <p:spPr/>
        <p:txBody>
          <a:bodyPr/>
          <a:lstStyle>
            <a:lvl1pPr>
              <a:defRPr/>
            </a:lvl1pPr>
          </a:lstStyle>
          <a:p>
            <a:pPr>
              <a:defRPr/>
            </a:pPr>
            <a:fld id="{F3504548-2AF7-4180-AFBF-591A237A2C23}"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453175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custDataLst>
              <p:tags r:id="rId1"/>
            </p:custDataLst>
          </p:nvPr>
        </p:nvSpPr>
        <p:spPr/>
        <p:txBody>
          <a:bodyPr/>
          <a:lstStyle>
            <a:lvl1pPr>
              <a:defRPr/>
            </a:lvl1pPr>
          </a:lstStyle>
          <a:p>
            <a:pPr>
              <a:defRPr/>
            </a:pPr>
            <a:fld id="{565B7191-7AD2-40CA-8B1B-20495170D049}" type="datetimeFigureOut">
              <a:rPr lang="en-GB">
                <a:solidFill>
                  <a:srgbClr val="000000">
                    <a:tint val="75000"/>
                  </a:srgbClr>
                </a:solidFill>
              </a:rPr>
              <a:pPr>
                <a:defRPr/>
              </a:pPr>
              <a:t>03/06/2013</a:t>
            </a:fld>
            <a:endParaRPr lang="en-GB">
              <a:solidFill>
                <a:srgbClr val="000000">
                  <a:tint val="75000"/>
                </a:srgbClr>
              </a:solidFill>
            </a:endParaRPr>
          </a:p>
        </p:txBody>
      </p:sp>
      <p:sp>
        <p:nvSpPr>
          <p:cNvPr id="6"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7" name="Slide Number Placeholder 5"/>
          <p:cNvSpPr>
            <a:spLocks noGrp="1"/>
          </p:cNvSpPr>
          <p:nvPr>
            <p:ph type="sldNum" sz="quarter" idx="12"/>
            <p:custDataLst>
              <p:tags r:id="rId3"/>
            </p:custDataLst>
          </p:nvPr>
        </p:nvSpPr>
        <p:spPr/>
        <p:txBody>
          <a:bodyPr/>
          <a:lstStyle>
            <a:lvl1pPr>
              <a:defRPr/>
            </a:lvl1pPr>
          </a:lstStyle>
          <a:p>
            <a:pPr>
              <a:defRPr/>
            </a:pPr>
            <a:fld id="{C0414AE6-2E5E-41F3-976D-50FBE2D4CC81}"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14530637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D05C009-03C3-48C2-B10F-373F9D271E3D}" type="datetimeFigureOut">
              <a:rPr lang="en-GB" smtClean="0"/>
              <a:t>03/06/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980361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custDataLst>
              <p:tags r:id="rId1"/>
            </p:custDataLst>
          </p:nvPr>
        </p:nvSpPr>
        <p:spPr/>
        <p:txBody>
          <a:bodyPr/>
          <a:lstStyle>
            <a:lvl1pPr>
              <a:defRPr/>
            </a:lvl1pPr>
          </a:lstStyle>
          <a:p>
            <a:pPr>
              <a:defRPr/>
            </a:pPr>
            <a:fld id="{FB87E494-86B6-42CE-9161-02469F4CC3B9}" type="datetimeFigureOut">
              <a:rPr lang="en-GB">
                <a:solidFill>
                  <a:srgbClr val="000000">
                    <a:tint val="75000"/>
                  </a:srgbClr>
                </a:solidFill>
              </a:rPr>
              <a:pPr>
                <a:defRPr/>
              </a:pPr>
              <a:t>03/06/2013</a:t>
            </a:fld>
            <a:endParaRPr lang="en-GB">
              <a:solidFill>
                <a:srgbClr val="000000">
                  <a:tint val="75000"/>
                </a:srgbClr>
              </a:solidFill>
            </a:endParaRPr>
          </a:p>
        </p:txBody>
      </p:sp>
      <p:sp>
        <p:nvSpPr>
          <p:cNvPr id="6"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7" name="Slide Number Placeholder 5"/>
          <p:cNvSpPr>
            <a:spLocks noGrp="1"/>
          </p:cNvSpPr>
          <p:nvPr>
            <p:ph type="sldNum" sz="quarter" idx="12"/>
            <p:custDataLst>
              <p:tags r:id="rId3"/>
            </p:custDataLst>
          </p:nvPr>
        </p:nvSpPr>
        <p:spPr/>
        <p:txBody>
          <a:bodyPr/>
          <a:lstStyle>
            <a:lvl1pPr>
              <a:defRPr/>
            </a:lvl1pPr>
          </a:lstStyle>
          <a:p>
            <a:pPr>
              <a:defRPr/>
            </a:pPr>
            <a:fld id="{5FB83C95-3613-476D-A531-898A712AE959}"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5751490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custDataLst>
              <p:tags r:id="rId1"/>
            </p:custDataLst>
          </p:nvPr>
        </p:nvSpPr>
        <p:spPr/>
        <p:txBody>
          <a:bodyPr/>
          <a:lstStyle>
            <a:lvl1pPr>
              <a:defRPr/>
            </a:lvl1pPr>
          </a:lstStyle>
          <a:p>
            <a:pPr>
              <a:defRPr/>
            </a:pPr>
            <a:fld id="{95F12DA0-CC2B-43E3-A751-AB57DAF7B65C}" type="datetimeFigureOut">
              <a:rPr lang="en-GB">
                <a:solidFill>
                  <a:srgbClr val="000000">
                    <a:tint val="75000"/>
                  </a:srgbClr>
                </a:solidFill>
              </a:rPr>
              <a:pPr>
                <a:defRPr/>
              </a:pPr>
              <a:t>03/06/2013</a:t>
            </a:fld>
            <a:endParaRPr lang="en-GB">
              <a:solidFill>
                <a:srgbClr val="000000">
                  <a:tint val="75000"/>
                </a:srgbClr>
              </a:solidFill>
            </a:endParaRPr>
          </a:p>
        </p:txBody>
      </p:sp>
      <p:sp>
        <p:nvSpPr>
          <p:cNvPr id="5"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6" name="Slide Number Placeholder 5"/>
          <p:cNvSpPr>
            <a:spLocks noGrp="1"/>
          </p:cNvSpPr>
          <p:nvPr>
            <p:ph type="sldNum" sz="quarter" idx="12"/>
            <p:custDataLst>
              <p:tags r:id="rId3"/>
            </p:custDataLst>
          </p:nvPr>
        </p:nvSpPr>
        <p:spPr/>
        <p:txBody>
          <a:bodyPr/>
          <a:lstStyle>
            <a:lvl1pPr>
              <a:defRPr/>
            </a:lvl1pPr>
          </a:lstStyle>
          <a:p>
            <a:pPr>
              <a:defRPr/>
            </a:pPr>
            <a:fld id="{E3F6C232-C3C6-4737-A81A-A5E04FF39FBD}"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10426202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custDataLst>
              <p:tags r:id="rId1"/>
            </p:custDataLst>
          </p:nvPr>
        </p:nvSpPr>
        <p:spPr/>
        <p:txBody>
          <a:bodyPr/>
          <a:lstStyle>
            <a:lvl1pPr>
              <a:defRPr/>
            </a:lvl1pPr>
          </a:lstStyle>
          <a:p>
            <a:pPr>
              <a:defRPr/>
            </a:pPr>
            <a:fld id="{6DC55694-77B3-4AE3-B439-13E02455968B}" type="datetimeFigureOut">
              <a:rPr lang="en-GB">
                <a:solidFill>
                  <a:srgbClr val="000000">
                    <a:tint val="75000"/>
                  </a:srgbClr>
                </a:solidFill>
              </a:rPr>
              <a:pPr>
                <a:defRPr/>
              </a:pPr>
              <a:t>03/06/2013</a:t>
            </a:fld>
            <a:endParaRPr lang="en-GB">
              <a:solidFill>
                <a:srgbClr val="000000">
                  <a:tint val="75000"/>
                </a:srgbClr>
              </a:solidFill>
            </a:endParaRPr>
          </a:p>
        </p:txBody>
      </p:sp>
      <p:sp>
        <p:nvSpPr>
          <p:cNvPr id="5" name="Footer Placeholder 4"/>
          <p:cNvSpPr>
            <a:spLocks noGrp="1"/>
          </p:cNvSpPr>
          <p:nvPr>
            <p:ph type="ftr" sz="quarter" idx="11"/>
            <p:custDataLst>
              <p:tags r:id="rId2"/>
            </p:custDataLst>
          </p:nvPr>
        </p:nvSpPr>
        <p:spPr/>
        <p:txBody>
          <a:bodyPr/>
          <a:lstStyle>
            <a:lvl1pPr>
              <a:defRPr/>
            </a:lvl1pPr>
          </a:lstStyle>
          <a:p>
            <a:pPr>
              <a:defRPr/>
            </a:pPr>
            <a:endParaRPr lang="en-GB">
              <a:solidFill>
                <a:srgbClr val="000000">
                  <a:tint val="75000"/>
                </a:srgbClr>
              </a:solidFill>
            </a:endParaRPr>
          </a:p>
        </p:txBody>
      </p:sp>
      <p:sp>
        <p:nvSpPr>
          <p:cNvPr id="6" name="Slide Number Placeholder 5"/>
          <p:cNvSpPr>
            <a:spLocks noGrp="1"/>
          </p:cNvSpPr>
          <p:nvPr>
            <p:ph type="sldNum" sz="quarter" idx="12"/>
            <p:custDataLst>
              <p:tags r:id="rId3"/>
            </p:custDataLst>
          </p:nvPr>
        </p:nvSpPr>
        <p:spPr/>
        <p:txBody>
          <a:bodyPr/>
          <a:lstStyle>
            <a:lvl1pPr>
              <a:defRPr/>
            </a:lvl1pPr>
          </a:lstStyle>
          <a:p>
            <a:pPr>
              <a:defRPr/>
            </a:pPr>
            <a:fld id="{23A0FC9E-FC63-4D07-B87E-4D9FC13536D8}"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26991193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x" type="tx">
  <p:cSld name="tx">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274637"/>
            <a:ext cx="8229600" cy="1143000"/>
          </a:xfrm>
          <a:prstGeom prst="rect">
            <a:avLst/>
          </a:prstGeom>
          <a:noFill/>
          <a:ln>
            <a:noFill/>
          </a:ln>
        </p:spPr>
        <p:txBody>
          <a:bodyPr lIns="91425" tIns="91425" rIns="91425" bIns="91425" anchor="b" anchorCtr="0"/>
          <a:lstStyle>
            <a:lvl1pPr algn="l" rtl="0">
              <a:spcBef>
                <a:spcPts val="0"/>
              </a:spcBef>
              <a:buSzPct val="100000"/>
              <a:buFont typeface="Arial"/>
              <a:buNone/>
              <a:defRPr sz="3600" b="1">
                <a:solidFill>
                  <a:schemeClr val="dk1"/>
                </a:solidFill>
                <a:latin typeface="Arial"/>
                <a:ea typeface="Arial"/>
                <a:cs typeface="Arial"/>
                <a:sym typeface="Arial"/>
              </a:defRPr>
            </a:lvl1pPr>
            <a:lvl2pPr algn="l" rtl="0">
              <a:spcBef>
                <a:spcPts val="0"/>
              </a:spcBef>
              <a:buSzPct val="100000"/>
              <a:buFont typeface="Arial"/>
              <a:buNone/>
              <a:defRPr sz="3600" b="1">
                <a:solidFill>
                  <a:schemeClr val="dk1"/>
                </a:solidFill>
                <a:latin typeface="Arial"/>
                <a:ea typeface="Arial"/>
                <a:cs typeface="Arial"/>
                <a:sym typeface="Arial"/>
              </a:defRPr>
            </a:lvl2pPr>
            <a:lvl3pPr algn="l" rtl="0">
              <a:spcBef>
                <a:spcPts val="0"/>
              </a:spcBef>
              <a:buSzPct val="100000"/>
              <a:buFont typeface="Arial"/>
              <a:buNone/>
              <a:defRPr sz="3600" b="1">
                <a:solidFill>
                  <a:schemeClr val="dk1"/>
                </a:solidFill>
                <a:latin typeface="Arial"/>
                <a:ea typeface="Arial"/>
                <a:cs typeface="Arial"/>
                <a:sym typeface="Arial"/>
              </a:defRPr>
            </a:lvl3pPr>
            <a:lvl4pPr algn="l" rtl="0">
              <a:spcBef>
                <a:spcPts val="0"/>
              </a:spcBef>
              <a:buSzPct val="100000"/>
              <a:buFont typeface="Arial"/>
              <a:buNone/>
              <a:defRPr sz="3600" b="1">
                <a:solidFill>
                  <a:schemeClr val="dk1"/>
                </a:solidFill>
                <a:latin typeface="Arial"/>
                <a:ea typeface="Arial"/>
                <a:cs typeface="Arial"/>
                <a:sym typeface="Arial"/>
              </a:defRPr>
            </a:lvl4pPr>
            <a:lvl5pPr algn="l" rtl="0">
              <a:spcBef>
                <a:spcPts val="0"/>
              </a:spcBef>
              <a:buSzPct val="100000"/>
              <a:buFont typeface="Arial"/>
              <a:buNone/>
              <a:defRPr sz="3600" b="1">
                <a:solidFill>
                  <a:schemeClr val="dk1"/>
                </a:solidFill>
                <a:latin typeface="Arial"/>
                <a:ea typeface="Arial"/>
                <a:cs typeface="Arial"/>
                <a:sym typeface="Arial"/>
              </a:defRPr>
            </a:lvl5pPr>
            <a:lvl6pPr algn="l" rtl="0">
              <a:spcBef>
                <a:spcPts val="0"/>
              </a:spcBef>
              <a:buSzPct val="100000"/>
              <a:buFont typeface="Arial"/>
              <a:buNone/>
              <a:defRPr sz="3600" b="1">
                <a:solidFill>
                  <a:schemeClr val="dk1"/>
                </a:solidFill>
                <a:latin typeface="Arial"/>
                <a:ea typeface="Arial"/>
                <a:cs typeface="Arial"/>
                <a:sym typeface="Arial"/>
              </a:defRPr>
            </a:lvl6pPr>
            <a:lvl7pPr algn="l" rtl="0">
              <a:spcBef>
                <a:spcPts val="0"/>
              </a:spcBef>
              <a:buSzPct val="100000"/>
              <a:buFont typeface="Arial"/>
              <a:buNone/>
              <a:defRPr sz="3600" b="1">
                <a:solidFill>
                  <a:schemeClr val="dk1"/>
                </a:solidFill>
                <a:latin typeface="Arial"/>
                <a:ea typeface="Arial"/>
                <a:cs typeface="Arial"/>
                <a:sym typeface="Arial"/>
              </a:defRPr>
            </a:lvl7pPr>
            <a:lvl8pPr algn="l" rtl="0">
              <a:spcBef>
                <a:spcPts val="0"/>
              </a:spcBef>
              <a:buSzPct val="100000"/>
              <a:buFont typeface="Arial"/>
              <a:buNone/>
              <a:defRPr sz="3600" b="1">
                <a:solidFill>
                  <a:schemeClr val="dk1"/>
                </a:solidFill>
                <a:latin typeface="Arial"/>
                <a:ea typeface="Arial"/>
                <a:cs typeface="Arial"/>
                <a:sym typeface="Arial"/>
              </a:defRPr>
            </a:lvl8pPr>
            <a:lvl9pPr algn="l" rtl="0">
              <a:spcBef>
                <a:spcPts val="0"/>
              </a:spcBef>
              <a:buSzPct val="100000"/>
              <a:buFont typeface="Arial"/>
              <a:buNone/>
              <a:defRPr sz="3600" b="1">
                <a:solidFill>
                  <a:schemeClr val="dk1"/>
                </a:solidFill>
                <a:latin typeface="Arial"/>
                <a:ea typeface="Arial"/>
                <a:cs typeface="Arial"/>
                <a:sym typeface="Arial"/>
              </a:defRPr>
            </a:lvl9pPr>
          </a:lstStyle>
          <a:p>
            <a:endParaRPr/>
          </a:p>
        </p:txBody>
      </p:sp>
      <p:sp>
        <p:nvSpPr>
          <p:cNvPr id="12" name="Shape 12"/>
          <p:cNvSpPr txBox="1">
            <a:spLocks noGrp="1"/>
          </p:cNvSpPr>
          <p:nvPr>
            <p:ph type="body" idx="1"/>
          </p:nvPr>
        </p:nvSpPr>
        <p:spPr>
          <a:xfrm>
            <a:off x="457200" y="1600200"/>
            <a:ext cx="8229600" cy="4967574"/>
          </a:xfrm>
          <a:prstGeom prst="rect">
            <a:avLst/>
          </a:prstGeom>
          <a:noFill/>
          <a:ln>
            <a:noFill/>
          </a:ln>
        </p:spPr>
        <p:txBody>
          <a:bodyPr lIns="91425" tIns="91425" rIns="91425" bIns="91425" anchor="t" anchorCtr="0"/>
          <a:lstStyle>
            <a:lvl1pPr rtl="0">
              <a:defRPr/>
            </a:lvl1pPr>
            <a:lvl2pPr marL="742950" indent="-285750" rtl="0">
              <a:defRPr/>
            </a:lvl2pPr>
            <a:lvl3pPr marL="1143000" indent="-228600" rtl="0">
              <a:defRPr/>
            </a:lvl3pPr>
            <a:lvl4pPr marL="1600200" indent="-228600" rtl="0">
              <a:defRPr/>
            </a:lvl4pPr>
            <a:lvl5pPr rtl="0">
              <a:defRPr sz="1800"/>
            </a:lvl5pPr>
            <a:lvl6pPr rtl="0">
              <a:defRPr sz="1800"/>
            </a:lvl6pPr>
            <a:lvl7pPr rtl="0">
              <a:defRPr sz="1800"/>
            </a:lvl7pPr>
            <a:lvl8pPr rtl="0">
              <a:defRPr sz="1800"/>
            </a:lvl8pPr>
            <a:lvl9pPr rtl="0">
              <a:defRPr sz="1800"/>
            </a:lvl9pPr>
          </a:lstStyle>
          <a:p>
            <a:endParaRPr/>
          </a:p>
        </p:txBody>
      </p:sp>
    </p:spTree>
    <p:extLst>
      <p:ext uri="{BB962C8B-B14F-4D97-AF65-F5344CB8AC3E}">
        <p14:creationId xmlns:p14="http://schemas.microsoft.com/office/powerpoint/2010/main" val="4447142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D05C009-03C3-48C2-B10F-373F9D271E3D}" type="datetimeFigureOut">
              <a:rPr lang="en-GB" smtClean="0"/>
              <a:t>03/06/201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24462531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ED05C009-03C3-48C2-B10F-373F9D271E3D}" type="datetimeFigureOut">
              <a:rPr lang="en-GB" smtClean="0"/>
              <a:t>03/06/201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36718753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ED05C009-03C3-48C2-B10F-373F9D271E3D}" type="datetimeFigureOut">
              <a:rPr lang="en-GB" smtClean="0"/>
              <a:t>03/06/201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13918640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ED05C009-03C3-48C2-B10F-373F9D271E3D}" type="datetimeFigureOut">
              <a:rPr lang="en-GB" smtClean="0"/>
              <a:t>03/06/201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42137104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05C009-03C3-48C2-B10F-373F9D271E3D}" type="datetimeFigureOut">
              <a:rPr lang="en-GB" smtClean="0"/>
              <a:t>03/06/201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24152697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D05C009-03C3-48C2-B10F-373F9D271E3D}" type="datetimeFigureOut">
              <a:rPr lang="en-GB" smtClean="0"/>
              <a:t>03/06/201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4248693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D05C009-03C3-48C2-B10F-373F9D271E3D}" type="datetimeFigureOut">
              <a:rPr lang="en-GB" smtClean="0"/>
              <a:t>03/06/201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CD4C734-E1D3-4904-8967-EF77C47A737A}" type="slidenum">
              <a:rPr lang="en-GB" smtClean="0"/>
              <a:t>‹#›</a:t>
            </a:fld>
            <a:endParaRPr lang="en-GB"/>
          </a:p>
        </p:txBody>
      </p:sp>
    </p:spTree>
    <p:extLst>
      <p:ext uri="{BB962C8B-B14F-4D97-AF65-F5344CB8AC3E}">
        <p14:creationId xmlns:p14="http://schemas.microsoft.com/office/powerpoint/2010/main" val="2722108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tags" Target="../tags/tag4.xml"/><Relationship Id="rId3" Type="http://schemas.openxmlformats.org/officeDocument/2006/relationships/slideLayout" Target="../slideLayouts/slideLayout14.xml"/><Relationship Id="rId21" Type="http://schemas.openxmlformats.org/officeDocument/2006/relationships/tags" Target="../tags/tag7.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3.xml"/><Relationship Id="rId25"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0.xml"/><Relationship Id="rId5" Type="http://schemas.openxmlformats.org/officeDocument/2006/relationships/slideLayout" Target="../slideLayouts/slideLayout16.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21.xml"/><Relationship Id="rId19" Type="http://schemas.openxmlformats.org/officeDocument/2006/relationships/tags" Target="../tags/tag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v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05C009-03C3-48C2-B10F-373F9D271E3D}" type="datetimeFigureOut">
              <a:rPr lang="en-GB" smtClean="0"/>
              <a:t>03/06/2013</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D4C734-E1D3-4904-8967-EF77C47A737A}" type="slidenum">
              <a:rPr lang="en-GB" smtClean="0"/>
              <a:t>‹#›</a:t>
            </a:fld>
            <a:endParaRPr lang="en-GB"/>
          </a:p>
        </p:txBody>
      </p:sp>
    </p:spTree>
    <p:extLst>
      <p:ext uri="{BB962C8B-B14F-4D97-AF65-F5344CB8AC3E}">
        <p14:creationId xmlns:p14="http://schemas.microsoft.com/office/powerpoint/2010/main" val="37130701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6661" name="AutoShape 37"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 name="think-cell Slide" r:id="rId25" imgW="0" imgH="0" progId="TCLayout.ActiveDocument.1">
                  <p:embed/>
                </p:oleObj>
              </mc:Choice>
              <mc:Fallback>
                <p:oleObj name="think-cell Slide" r:id="rId2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63" name="Title Placeholder 1"/>
          <p:cNvSpPr>
            <a:spLocks noGrp="1"/>
          </p:cNvSpPr>
          <p:nvPr>
            <p:ph type="title"/>
            <p:custDataLst>
              <p:tags r:id="rId16"/>
            </p:custDataLst>
          </p:nvPr>
        </p:nvSpPr>
        <p:spPr bwMode="auto">
          <a:xfrm>
            <a:off x="76200" y="80963"/>
            <a:ext cx="82296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26664" name="Text Placeholder 2"/>
          <p:cNvSpPr>
            <a:spLocks noGrp="1"/>
          </p:cNvSpPr>
          <p:nvPr>
            <p:ph type="body" idx="1"/>
            <p:custDataLst>
              <p:tags r:id="rId17"/>
            </p:custDataLst>
          </p:nvPr>
        </p:nvSpPr>
        <p:spPr bwMode="auto">
          <a:xfrm>
            <a:off x="76200" y="1493838"/>
            <a:ext cx="8229600"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custDataLst>
              <p:tags r:id="rId18"/>
            </p:custDataLst>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17F9D009-93D6-4DB5-A79A-D914C8A229A3}" type="datetimeFigureOut">
              <a:rPr lang="en-GB">
                <a:solidFill>
                  <a:srgbClr val="000000">
                    <a:tint val="75000"/>
                  </a:srgbClr>
                </a:solidFill>
              </a:rPr>
              <a:pPr>
                <a:defRPr/>
              </a:pPr>
              <a:t>03/06/2013</a:t>
            </a:fld>
            <a:endParaRPr lang="en-GB">
              <a:solidFill>
                <a:srgbClr val="000000">
                  <a:tint val="75000"/>
                </a:srgbClr>
              </a:solidFill>
            </a:endParaRPr>
          </a:p>
        </p:txBody>
      </p:sp>
      <p:sp>
        <p:nvSpPr>
          <p:cNvPr id="5" name="Footer Placeholder 4"/>
          <p:cNvSpPr>
            <a:spLocks noGrp="1"/>
          </p:cNvSpPr>
          <p:nvPr>
            <p:ph type="ftr" sz="quarter" idx="3"/>
            <p:custDataLst>
              <p:tags r:id="rId19"/>
            </p:custDataLst>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GB">
              <a:solidFill>
                <a:srgbClr val="000000">
                  <a:tint val="75000"/>
                </a:srgbClr>
              </a:solidFill>
            </a:endParaRPr>
          </a:p>
        </p:txBody>
      </p:sp>
      <p:sp>
        <p:nvSpPr>
          <p:cNvPr id="6" name="Slide Number Placeholder 5"/>
          <p:cNvSpPr>
            <a:spLocks noGrp="1"/>
          </p:cNvSpPr>
          <p:nvPr>
            <p:ph type="sldNum" sz="quarter" idx="4"/>
            <p:custDataLst>
              <p:tags r:id="rId20"/>
            </p:custDataLst>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6CE2524-DFCA-4768-9C64-20C051132355}" type="slidenum">
              <a:rPr lang="en-GB">
                <a:solidFill>
                  <a:srgbClr val="000000">
                    <a:tint val="75000"/>
                  </a:srgbClr>
                </a:solidFill>
              </a:rPr>
              <a:pPr>
                <a:defRPr/>
              </a:pPr>
              <a:t>‹#›</a:t>
            </a:fld>
            <a:endParaRPr lang="en-GB">
              <a:solidFill>
                <a:srgbClr val="000000">
                  <a:tint val="75000"/>
                </a:srgbClr>
              </a:solidFill>
            </a:endParaRPr>
          </a:p>
        </p:txBody>
      </p:sp>
      <p:sp>
        <p:nvSpPr>
          <p:cNvPr id="8" name="Rectangle 7"/>
          <p:cNvSpPr/>
          <p:nvPr>
            <p:custDataLst>
              <p:tags r:id="rId21"/>
            </p:custDataLst>
          </p:nvPr>
        </p:nvSpPr>
        <p:spPr>
          <a:xfrm>
            <a:off x="2362200" y="0"/>
            <a:ext cx="6781800" cy="46038"/>
          </a:xfrm>
          <a:prstGeom prst="rect">
            <a:avLst/>
          </a:prstGeom>
          <a:solidFill>
            <a:srgbClr val="510C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9" name="Rectangle 8"/>
          <p:cNvSpPr/>
          <p:nvPr>
            <p:custDataLst>
              <p:tags r:id="rId22"/>
            </p:custDataLst>
          </p:nvPr>
        </p:nvSpPr>
        <p:spPr>
          <a:xfrm>
            <a:off x="5638800" y="6811963"/>
            <a:ext cx="3505200" cy="46037"/>
          </a:xfrm>
          <a:prstGeom prst="rect">
            <a:avLst/>
          </a:prstGeom>
          <a:solidFill>
            <a:srgbClr val="07A1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p:custDataLst>
              <p:tags r:id="rId23"/>
            </p:custDataLst>
          </p:nvPr>
        </p:nvSpPr>
        <p:spPr>
          <a:xfrm>
            <a:off x="0" y="6811963"/>
            <a:ext cx="6781800" cy="46037"/>
          </a:xfrm>
          <a:prstGeom prst="rect">
            <a:avLst/>
          </a:prstGeom>
          <a:solidFill>
            <a:srgbClr val="510C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7" name="Rectangle 6"/>
          <p:cNvSpPr/>
          <p:nvPr>
            <p:custDataLst>
              <p:tags r:id="rId24"/>
            </p:custDataLst>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Tree>
    <p:extLst>
      <p:ext uri="{BB962C8B-B14F-4D97-AF65-F5344CB8AC3E}">
        <p14:creationId xmlns:p14="http://schemas.microsoft.com/office/powerpoint/2010/main" val="41682389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rtl="0" eaLnBrk="0" fontAlgn="base" hangingPunct="0">
        <a:spcBef>
          <a:spcPct val="0"/>
        </a:spcBef>
        <a:spcAft>
          <a:spcPct val="0"/>
        </a:spcAft>
        <a:defRPr sz="3600" kern="1200">
          <a:solidFill>
            <a:schemeClr val="tx1"/>
          </a:solidFill>
          <a:latin typeface="Gill Sans MT" pitchFamily="34" charset="0"/>
          <a:ea typeface="+mj-ea"/>
          <a:cs typeface="+mj-cs"/>
        </a:defRPr>
      </a:lvl1pPr>
      <a:lvl2pPr algn="l" rtl="0" eaLnBrk="0" fontAlgn="base" hangingPunct="0">
        <a:spcBef>
          <a:spcPct val="0"/>
        </a:spcBef>
        <a:spcAft>
          <a:spcPct val="0"/>
        </a:spcAft>
        <a:defRPr sz="3600">
          <a:solidFill>
            <a:schemeClr val="tx1"/>
          </a:solidFill>
          <a:latin typeface="Gill Sans MT"/>
        </a:defRPr>
      </a:lvl2pPr>
      <a:lvl3pPr algn="l" rtl="0" eaLnBrk="0" fontAlgn="base" hangingPunct="0">
        <a:spcBef>
          <a:spcPct val="0"/>
        </a:spcBef>
        <a:spcAft>
          <a:spcPct val="0"/>
        </a:spcAft>
        <a:defRPr sz="3600">
          <a:solidFill>
            <a:schemeClr val="tx1"/>
          </a:solidFill>
          <a:latin typeface="Gill Sans MT"/>
        </a:defRPr>
      </a:lvl3pPr>
      <a:lvl4pPr algn="l" rtl="0" eaLnBrk="0" fontAlgn="base" hangingPunct="0">
        <a:spcBef>
          <a:spcPct val="0"/>
        </a:spcBef>
        <a:spcAft>
          <a:spcPct val="0"/>
        </a:spcAft>
        <a:defRPr sz="3600">
          <a:solidFill>
            <a:schemeClr val="tx1"/>
          </a:solidFill>
          <a:latin typeface="Gill Sans MT"/>
        </a:defRPr>
      </a:lvl4pPr>
      <a:lvl5pPr algn="l" rtl="0" eaLnBrk="0" fontAlgn="base" hangingPunct="0">
        <a:spcBef>
          <a:spcPct val="0"/>
        </a:spcBef>
        <a:spcAft>
          <a:spcPct val="0"/>
        </a:spcAft>
        <a:defRPr sz="3600">
          <a:solidFill>
            <a:schemeClr val="tx1"/>
          </a:solidFill>
          <a:latin typeface="Gill Sans MT"/>
        </a:defRPr>
      </a:lvl5pPr>
      <a:lvl6pPr marL="457200" algn="l" rtl="0" fontAlgn="base">
        <a:spcBef>
          <a:spcPct val="0"/>
        </a:spcBef>
        <a:spcAft>
          <a:spcPct val="0"/>
        </a:spcAft>
        <a:defRPr sz="3600">
          <a:solidFill>
            <a:schemeClr val="tx1"/>
          </a:solidFill>
          <a:latin typeface="Gill Sans MT"/>
        </a:defRPr>
      </a:lvl6pPr>
      <a:lvl7pPr marL="914400" algn="l" rtl="0" fontAlgn="base">
        <a:spcBef>
          <a:spcPct val="0"/>
        </a:spcBef>
        <a:spcAft>
          <a:spcPct val="0"/>
        </a:spcAft>
        <a:defRPr sz="3600">
          <a:solidFill>
            <a:schemeClr val="tx1"/>
          </a:solidFill>
          <a:latin typeface="Gill Sans MT"/>
        </a:defRPr>
      </a:lvl7pPr>
      <a:lvl8pPr marL="1371600" algn="l" rtl="0" fontAlgn="base">
        <a:spcBef>
          <a:spcPct val="0"/>
        </a:spcBef>
        <a:spcAft>
          <a:spcPct val="0"/>
        </a:spcAft>
        <a:defRPr sz="3600">
          <a:solidFill>
            <a:schemeClr val="tx1"/>
          </a:solidFill>
          <a:latin typeface="Gill Sans MT"/>
        </a:defRPr>
      </a:lvl8pPr>
      <a:lvl9pPr marL="1828800" algn="l" rtl="0" fontAlgn="base">
        <a:spcBef>
          <a:spcPct val="0"/>
        </a:spcBef>
        <a:spcAft>
          <a:spcPct val="0"/>
        </a:spcAft>
        <a:defRPr sz="3600">
          <a:solidFill>
            <a:schemeClr val="tx1"/>
          </a:solidFill>
          <a:latin typeface="Gill Sans MT"/>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Gill Sans MT"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Gill Sans MT"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Gill Sans MT"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Gill Sans MT"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Gill Sans M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diagramLayout" Target="../diagrams/layout6.xml"/><Relationship Id="rId7" Type="http://schemas.openxmlformats.org/officeDocument/2006/relationships/diagramData" Target="../diagrams/data7.xml"/><Relationship Id="rId2" Type="http://schemas.openxmlformats.org/officeDocument/2006/relationships/diagramData" Target="../diagrams/data6.xml"/><Relationship Id="rId1" Type="http://schemas.openxmlformats.org/officeDocument/2006/relationships/slideLayout" Target="../slideLayouts/slideLayout1.xml"/><Relationship Id="rId6" Type="http://schemas.microsoft.com/office/2007/relationships/diagramDrawing" Target="../diagrams/drawing6.xml"/><Relationship Id="rId11" Type="http://schemas.microsoft.com/office/2007/relationships/diagramDrawing" Target="../diagrams/drawing7.xml"/><Relationship Id="rId5" Type="http://schemas.openxmlformats.org/officeDocument/2006/relationships/diagramColors" Target="../diagrams/colors6.xml"/><Relationship Id="rId10" Type="http://schemas.openxmlformats.org/officeDocument/2006/relationships/diagramColors" Target="../diagrams/colors7.xml"/><Relationship Id="rId4" Type="http://schemas.openxmlformats.org/officeDocument/2006/relationships/diagramQuickStyle" Target="../diagrams/quickStyle6.xml"/><Relationship Id="rId9" Type="http://schemas.openxmlformats.org/officeDocument/2006/relationships/diagramQuickStyle" Target="../diagrams/quickStyle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4.png"/><Relationship Id="rId3" Type="http://schemas.openxmlformats.org/officeDocument/2006/relationships/tags" Target="../tags/tag46.xml"/><Relationship Id="rId7" Type="http://schemas.openxmlformats.org/officeDocument/2006/relationships/diagramLayout" Target="../diagrams/layout1.xml"/><Relationship Id="rId12" Type="http://schemas.openxmlformats.org/officeDocument/2006/relationships/image" Target="../media/image3.png"/><Relationship Id="rId2" Type="http://schemas.openxmlformats.org/officeDocument/2006/relationships/tags" Target="../tags/tag45.xml"/><Relationship Id="rId1" Type="http://schemas.openxmlformats.org/officeDocument/2006/relationships/vmlDrawing" Target="../drawings/vmlDrawing2.vml"/><Relationship Id="rId6" Type="http://schemas.openxmlformats.org/officeDocument/2006/relationships/diagramData" Target="../diagrams/data1.xml"/><Relationship Id="rId11" Type="http://schemas.openxmlformats.org/officeDocument/2006/relationships/image" Target="../media/image2.png"/><Relationship Id="rId5" Type="http://schemas.openxmlformats.org/officeDocument/2006/relationships/oleObject" Target="../embeddings/oleObject2.bin"/><Relationship Id="rId10" Type="http://schemas.microsoft.com/office/2007/relationships/diagramDrawing" Target="../diagrams/drawing1.xml"/><Relationship Id="rId4" Type="http://schemas.openxmlformats.org/officeDocument/2006/relationships/slideLayout" Target="../slideLayouts/slideLayout2.xml"/><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blipFill>
            <a:blip r:embed="rId2"/>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hape 56"/>
          <p:cNvSpPr txBox="1"/>
          <p:nvPr/>
        </p:nvSpPr>
        <p:spPr>
          <a:xfrm>
            <a:off x="0" y="5280900"/>
            <a:ext cx="7772400" cy="1043700"/>
          </a:xfrm>
          <a:prstGeom prst="rect">
            <a:avLst/>
          </a:prstGeom>
          <a:solidFill>
            <a:schemeClr val="accent4">
              <a:lumMod val="75000"/>
            </a:schemeClr>
          </a:solidFill>
        </p:spPr>
        <p:txBody>
          <a:bodyPr lIns="91425" tIns="91425" rIns="91425" bIns="91425" anchor="t" anchorCtr="0">
            <a:noAutofit/>
          </a:bodyPr>
          <a:lstStyle/>
          <a:p>
            <a:pPr lvl="0" rtl="0">
              <a:buNone/>
            </a:pPr>
            <a:endParaRPr lang="en-GB" sz="1500" dirty="0">
              <a:solidFill>
                <a:srgbClr val="FFFFFF"/>
              </a:solidFill>
              <a:latin typeface="Gill Sans MT" pitchFamily="34" charset="0"/>
            </a:endParaRPr>
          </a:p>
        </p:txBody>
      </p:sp>
      <p:sp>
        <p:nvSpPr>
          <p:cNvPr id="4" name="Shape 23"/>
          <p:cNvSpPr txBox="1">
            <a:spLocks/>
          </p:cNvSpPr>
          <p:nvPr/>
        </p:nvSpPr>
        <p:spPr bwMode="auto">
          <a:xfrm>
            <a:off x="0" y="849134"/>
            <a:ext cx="9144000" cy="1828800"/>
          </a:xfrm>
          <a:prstGeom prst="rect">
            <a:avLst/>
          </a:prstGeom>
          <a:solidFill>
            <a:schemeClr val="accent4"/>
          </a:solidFill>
          <a:ln w="9525">
            <a:noFill/>
            <a:miter lim="800000"/>
            <a:headEnd/>
            <a:tailEnd/>
          </a:ln>
        </p:spPr>
        <p:txBody>
          <a:bodyPr vert="horz" wrap="square" lIns="91425" tIns="91425" rIns="91425" bIns="91425" numCol="1" anchor="b"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1500" b="1" kern="700" spc="-310" dirty="0" smtClean="0">
                <a:solidFill>
                  <a:srgbClr val="FFFFFF"/>
                </a:solidFill>
                <a:latin typeface="Gill Sans MT" pitchFamily="34" charset="0"/>
                <a:ea typeface="+mj-ea"/>
                <a:cs typeface="+mj-cs"/>
              </a:rPr>
              <a:t>v</a:t>
            </a:r>
            <a:r>
              <a:rPr kumimoji="0" lang="en-GB" sz="11500" b="1" i="0" u="none" strike="noStrike" kern="700" cap="none" spc="-310" normalizeH="0" baseline="0" noProof="0" dirty="0" smtClean="0">
                <a:ln>
                  <a:noFill/>
                </a:ln>
                <a:solidFill>
                  <a:srgbClr val="FFFFFF"/>
                </a:solidFill>
                <a:effectLst/>
                <a:uLnTx/>
                <a:uFillTx/>
                <a:latin typeface="Gill Sans MT" pitchFamily="34" charset="0"/>
                <a:ea typeface="+mj-ea"/>
                <a:cs typeface="+mj-cs"/>
              </a:rPr>
              <a:t>oice</a:t>
            </a:r>
            <a:r>
              <a:rPr kumimoji="0" lang="en-GB" sz="11500" b="1" i="0" u="none" strike="noStrike" kern="700" cap="none" spc="-310" normalizeH="0" baseline="0" noProof="0" dirty="0" smtClean="0">
                <a:ln>
                  <a:noFill/>
                </a:ln>
                <a:solidFill>
                  <a:schemeClr val="accent5"/>
                </a:solidFill>
                <a:effectLst/>
                <a:uLnTx/>
                <a:uFillTx/>
                <a:latin typeface="Gill Sans MT" pitchFamily="34" charset="0"/>
                <a:ea typeface="+mj-ea"/>
                <a:cs typeface="+mj-cs"/>
              </a:rPr>
              <a:t>21</a:t>
            </a:r>
            <a:endParaRPr kumimoji="0" lang="en-GB" sz="11500" b="1" i="0" u="none" strike="noStrike" kern="700" cap="none" spc="-310" normalizeH="0" baseline="0" noProof="0" dirty="0">
              <a:ln>
                <a:noFill/>
              </a:ln>
              <a:solidFill>
                <a:schemeClr val="accent5"/>
              </a:solidFill>
              <a:effectLst/>
              <a:uLnTx/>
              <a:uFillTx/>
              <a:latin typeface="Gill Sans MT" pitchFamily="34" charset="0"/>
              <a:ea typeface="+mj-ea"/>
              <a:cs typeface="+mj-cs"/>
            </a:endParaRPr>
          </a:p>
        </p:txBody>
      </p:sp>
      <p:sp>
        <p:nvSpPr>
          <p:cNvPr id="5" name="Shape 24"/>
          <p:cNvSpPr txBox="1">
            <a:spLocks/>
          </p:cNvSpPr>
          <p:nvPr/>
        </p:nvSpPr>
        <p:spPr bwMode="auto">
          <a:xfrm>
            <a:off x="586229" y="2916000"/>
            <a:ext cx="8100571" cy="1046400"/>
          </a:xfrm>
          <a:prstGeom prst="rect">
            <a:avLst/>
          </a:prstGeom>
          <a:noFill/>
          <a:ln w="9525">
            <a:noFill/>
            <a:miter lim="800000"/>
            <a:headEnd/>
            <a:tailEnd/>
          </a:ln>
        </p:spPr>
        <p:txBody>
          <a:bodyPr vert="horz" wrap="square" lIns="91425" tIns="91425" rIns="91425" bIns="91425" numCol="1" anchor="t" anchorCtr="0" compatLnSpc="1">
            <a:prstTxWarp prst="textNoShape">
              <a:avLst/>
            </a:prstTxWarp>
            <a:noAutofit/>
          </a:bodyPr>
          <a:lstStyle/>
          <a:p>
            <a:pPr marL="342900" marR="0" lvl="0" indent="-342900" algn="ctr" defTabSz="914400" rtl="0" eaLnBrk="0" fontAlgn="base" latinLnBrk="0" hangingPunct="0">
              <a:lnSpc>
                <a:spcPct val="100000"/>
              </a:lnSpc>
              <a:spcBef>
                <a:spcPct val="20000"/>
              </a:spcBef>
              <a:spcAft>
                <a:spcPct val="0"/>
              </a:spcAft>
              <a:buClrTx/>
              <a:buSzTx/>
              <a:buFont typeface="Arial" charset="0"/>
              <a:buNone/>
              <a:tabLst/>
              <a:defRPr/>
            </a:pPr>
            <a:r>
              <a:rPr kumimoji="0" lang="en-GB" sz="3200" b="0" i="0" u="none" strike="noStrike" kern="1200" cap="none" spc="0" normalizeH="0" baseline="0" noProof="0" dirty="0" smtClean="0">
                <a:ln>
                  <a:noFill/>
                </a:ln>
                <a:solidFill>
                  <a:schemeClr val="tx1"/>
                </a:solidFill>
                <a:effectLst/>
                <a:uLnTx/>
                <a:uFillTx/>
                <a:latin typeface="Gill Sans MT" pitchFamily="34" charset="0"/>
                <a:ea typeface="+mn-ea"/>
                <a:cs typeface="+mn-cs"/>
              </a:rPr>
              <a:t>The Oracy Project</a:t>
            </a:r>
          </a:p>
          <a:p>
            <a:pPr marL="342900" marR="0" lvl="0" indent="-342900" algn="ctr" defTabSz="914400" rtl="0" eaLnBrk="0" fontAlgn="base" latinLnBrk="0" hangingPunct="0">
              <a:lnSpc>
                <a:spcPct val="100000"/>
              </a:lnSpc>
              <a:spcBef>
                <a:spcPct val="20000"/>
              </a:spcBef>
              <a:spcAft>
                <a:spcPct val="0"/>
              </a:spcAft>
              <a:buClrTx/>
              <a:buSzTx/>
              <a:buFont typeface="Arial" charset="0"/>
              <a:buNone/>
              <a:tabLst/>
              <a:defRPr/>
            </a:pPr>
            <a:r>
              <a:rPr kumimoji="0" lang="en-GB" sz="2400" b="0" i="0" u="none" strike="noStrike" kern="1200" cap="none" spc="0" normalizeH="0" baseline="0" noProof="0" dirty="0" smtClean="0">
                <a:ln>
                  <a:noFill/>
                </a:ln>
                <a:solidFill>
                  <a:schemeClr val="tx1"/>
                </a:solidFill>
                <a:effectLst/>
                <a:uLnTx/>
                <a:uFillTx/>
                <a:latin typeface="Gill Sans MT" pitchFamily="34" charset="0"/>
                <a:ea typeface="+mn-ea"/>
                <a:cs typeface="+mn-cs"/>
              </a:rPr>
              <a:t>An overview</a:t>
            </a:r>
            <a:endParaRPr kumimoji="0" lang="en-GB" sz="2400" b="0" i="0" u="none" strike="noStrike" kern="1200" cap="none" spc="0" normalizeH="0" baseline="0" noProof="0" dirty="0">
              <a:ln>
                <a:noFill/>
              </a:ln>
              <a:solidFill>
                <a:schemeClr val="tx1"/>
              </a:solidFill>
              <a:effectLst/>
              <a:uLnTx/>
              <a:uFillTx/>
              <a:latin typeface="Gill Sans MT" pitchFamily="34" charset="0"/>
              <a:ea typeface="+mn-ea"/>
              <a:cs typeface="+mn-cs"/>
            </a:endParaRPr>
          </a:p>
        </p:txBody>
      </p:sp>
      <p:sp>
        <p:nvSpPr>
          <p:cNvPr id="6" name="Shape 25"/>
          <p:cNvSpPr txBox="1">
            <a:spLocks noGrp="1"/>
          </p:cNvSpPr>
          <p:nvPr>
            <p:ph type="title" idx="4294967295"/>
          </p:nvPr>
        </p:nvSpPr>
        <p:spPr>
          <a:xfrm>
            <a:off x="76200" y="5181600"/>
            <a:ext cx="7753672" cy="1143000"/>
          </a:xfrm>
          <a:prstGeom prst="rect">
            <a:avLst/>
          </a:prstGeom>
        </p:spPr>
        <p:txBody>
          <a:bodyPr lIns="91425" tIns="91425" rIns="91425" bIns="91425" anchor="b" anchorCtr="0">
            <a:noAutofit/>
          </a:bodyPr>
          <a:lstStyle/>
          <a:p>
            <a:pPr lvl="0" rtl="0">
              <a:buNone/>
            </a:pPr>
            <a:r>
              <a:rPr lang="en-GB" sz="2800" b="1" dirty="0">
                <a:solidFill>
                  <a:schemeClr val="bg1"/>
                </a:solidFill>
                <a:latin typeface="Gill Sans MT" pitchFamily="34" charset="0"/>
              </a:rPr>
              <a:t>Oracy</a:t>
            </a:r>
            <a:r>
              <a:rPr lang="en-GB" sz="2800" dirty="0">
                <a:solidFill>
                  <a:schemeClr val="bg1"/>
                </a:solidFill>
                <a:latin typeface="Gill Sans MT" pitchFamily="34" charset="0"/>
              </a:rPr>
              <a:t> is the effective use of spoken language, at school, at </a:t>
            </a:r>
            <a:r>
              <a:rPr lang="en-GB" sz="2800" dirty="0" smtClean="0">
                <a:solidFill>
                  <a:schemeClr val="bg1"/>
                </a:solidFill>
                <a:latin typeface="Gill Sans MT" pitchFamily="34" charset="0"/>
              </a:rPr>
              <a:t>work and beyond</a:t>
            </a:r>
            <a:endParaRPr lang="en-GB" sz="2800" dirty="0">
              <a:solidFill>
                <a:schemeClr val="bg1"/>
              </a:solidFill>
              <a:latin typeface="Gill Sans MT" pitchFamily="34" charset="0"/>
            </a:endParaRPr>
          </a:p>
        </p:txBody>
      </p:sp>
    </p:spTree>
    <p:extLst>
      <p:ext uri="{BB962C8B-B14F-4D97-AF65-F5344CB8AC3E}">
        <p14:creationId xmlns:p14="http://schemas.microsoft.com/office/powerpoint/2010/main" val="42148843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369345719"/>
              </p:ext>
            </p:extLst>
          </p:nvPr>
        </p:nvGraphicFramePr>
        <p:xfrm>
          <a:off x="251520" y="815226"/>
          <a:ext cx="8554550" cy="2397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2758501998"/>
              </p:ext>
            </p:extLst>
          </p:nvPr>
        </p:nvGraphicFramePr>
        <p:xfrm>
          <a:off x="-900608" y="3068960"/>
          <a:ext cx="9797136" cy="39203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Title 4"/>
          <p:cNvSpPr>
            <a:spLocks noGrp="1"/>
          </p:cNvSpPr>
          <p:nvPr>
            <p:ph type="ctrTitle"/>
          </p:nvPr>
        </p:nvSpPr>
        <p:spPr>
          <a:xfrm>
            <a:off x="-180528" y="-387424"/>
            <a:ext cx="8549640" cy="1470025"/>
          </a:xfrm>
        </p:spPr>
        <p:txBody>
          <a:bodyPr/>
          <a:lstStyle/>
          <a:p>
            <a:r>
              <a:rPr lang="en-GB" dirty="0" smtClean="0"/>
              <a:t>Glossary and additional categories</a:t>
            </a:r>
            <a:endParaRPr lang="en-GB" dirty="0"/>
          </a:p>
        </p:txBody>
      </p:sp>
      <p:sp>
        <p:nvSpPr>
          <p:cNvPr id="7" name="TextBox 6"/>
          <p:cNvSpPr txBox="1"/>
          <p:nvPr/>
        </p:nvSpPr>
        <p:spPr>
          <a:xfrm>
            <a:off x="504687" y="714182"/>
            <a:ext cx="1990812" cy="338554"/>
          </a:xfrm>
          <a:prstGeom prst="rect">
            <a:avLst/>
          </a:prstGeom>
          <a:solidFill>
            <a:schemeClr val="accent4"/>
          </a:solidFill>
          <a:ln>
            <a:solidFill>
              <a:schemeClr val="accent4"/>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GB" sz="1600" kern="1200" dirty="0" smtClean="0">
                <a:solidFill>
                  <a:schemeClr val="bg1"/>
                </a:solidFill>
              </a:rPr>
              <a:t>Qualities</a:t>
            </a:r>
            <a:endParaRPr lang="en-GB" sz="1600" kern="1200" dirty="0">
              <a:solidFill>
                <a:schemeClr val="bg1"/>
              </a:solidFill>
            </a:endParaRPr>
          </a:p>
        </p:txBody>
      </p:sp>
      <p:sp>
        <p:nvSpPr>
          <p:cNvPr id="33" name="TextBox 32"/>
          <p:cNvSpPr txBox="1"/>
          <p:nvPr/>
        </p:nvSpPr>
        <p:spPr>
          <a:xfrm>
            <a:off x="5041652" y="620688"/>
            <a:ext cx="1990812" cy="338554"/>
          </a:xfrm>
          <a:prstGeom prst="rect">
            <a:avLst/>
          </a:prstGeom>
          <a:solidFill>
            <a:schemeClr val="accent4"/>
          </a:solidFill>
          <a:ln>
            <a:solidFill>
              <a:schemeClr val="accent4"/>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GB" sz="1600" kern="1200" dirty="0" smtClean="0">
                <a:solidFill>
                  <a:schemeClr val="bg1"/>
                </a:solidFill>
              </a:rPr>
              <a:t>Meta-skills</a:t>
            </a:r>
            <a:endParaRPr lang="en-GB" sz="1600" kern="1200" dirty="0">
              <a:solidFill>
                <a:schemeClr val="bg1"/>
              </a:solidFill>
            </a:endParaRPr>
          </a:p>
        </p:txBody>
      </p:sp>
      <p:sp>
        <p:nvSpPr>
          <p:cNvPr id="9" name="TextBox 8"/>
          <p:cNvSpPr txBox="1"/>
          <p:nvPr/>
        </p:nvSpPr>
        <p:spPr>
          <a:xfrm>
            <a:off x="3203848" y="2996952"/>
            <a:ext cx="1471395" cy="369332"/>
          </a:xfrm>
          <a:prstGeom prst="rect">
            <a:avLst/>
          </a:prstGeom>
          <a:solidFill>
            <a:schemeClr val="bg1"/>
          </a:solidFill>
          <a:ln>
            <a:solidFill>
              <a:schemeClr val="accent4"/>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1800" kern="1200" dirty="0" smtClean="0">
                <a:solidFill>
                  <a:schemeClr val="tx1"/>
                </a:solidFill>
              </a:rPr>
              <a:t>Glossary</a:t>
            </a:r>
            <a:endParaRPr lang="en-GB" sz="1800" kern="1200" dirty="0">
              <a:solidFill>
                <a:schemeClr val="tx1"/>
              </a:solidFill>
            </a:endParaRPr>
          </a:p>
        </p:txBody>
      </p:sp>
    </p:spTree>
    <p:extLst>
      <p:ext uri="{BB962C8B-B14F-4D97-AF65-F5344CB8AC3E}">
        <p14:creationId xmlns:p14="http://schemas.microsoft.com/office/powerpoint/2010/main" val="7324811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80" name="Shape 80"/>
          <p:cNvSpPr txBox="1">
            <a:spLocks noGrp="1"/>
          </p:cNvSpPr>
          <p:nvPr>
            <p:ph type="title"/>
          </p:nvPr>
        </p:nvSpPr>
        <p:spPr>
          <a:xfrm>
            <a:off x="179512" y="-179924"/>
            <a:ext cx="9957817" cy="944628"/>
          </a:xfrm>
          <a:prstGeom prst="rect">
            <a:avLst/>
          </a:prstGeom>
        </p:spPr>
        <p:txBody>
          <a:bodyPr lIns="91425" tIns="91425" rIns="91425" bIns="91425" anchor="b" anchorCtr="0">
            <a:noAutofit/>
          </a:bodyPr>
          <a:lstStyle/>
          <a:p>
            <a:pPr>
              <a:buNone/>
            </a:pPr>
            <a:r>
              <a:rPr lang="en-GB" b="0" dirty="0" smtClean="0">
                <a:latin typeface="Gill Sans MT" pitchFamily="34" charset="0"/>
              </a:rPr>
              <a:t>Timetable, the major milestones</a:t>
            </a:r>
            <a:endParaRPr lang="en-GB" b="0" dirty="0">
              <a:latin typeface="Gill Sans MT" pitchFamily="34" charset="0"/>
            </a:endParaRPr>
          </a:p>
        </p:txBody>
      </p:sp>
      <p:sp>
        <p:nvSpPr>
          <p:cNvPr id="81" name="Shape 81"/>
          <p:cNvSpPr/>
          <p:nvPr/>
        </p:nvSpPr>
        <p:spPr>
          <a:xfrm>
            <a:off x="547449" y="832185"/>
            <a:ext cx="1718721" cy="2313900"/>
          </a:xfrm>
          <a:prstGeom prst="wedgeRectCallout">
            <a:avLst>
              <a:gd name="adj1" fmla="val -20833"/>
              <a:gd name="adj2" fmla="val 62500"/>
            </a:avLst>
          </a:prstGeom>
          <a:solidFill>
            <a:schemeClr val="bg1">
              <a:lumMod val="75000"/>
            </a:schemeClr>
          </a:solidFill>
          <a:ln>
            <a:noFill/>
          </a:ln>
        </p:spPr>
        <p:txBody>
          <a:bodyPr lIns="91425" tIns="91425" rIns="91425" bIns="91425" anchor="ctr" anchorCtr="0">
            <a:noAutofit/>
          </a:bodyPr>
          <a:lstStyle/>
          <a:p>
            <a:pPr fontAlgn="base">
              <a:spcBef>
                <a:spcPts val="600"/>
              </a:spcBef>
              <a:spcAft>
                <a:spcPct val="0"/>
              </a:spcAft>
              <a:buClr>
                <a:srgbClr val="000000"/>
              </a:buClr>
              <a:buSzPct val="61111"/>
              <a:buFont typeface="Arial"/>
              <a:buNone/>
            </a:pPr>
            <a:r>
              <a:rPr lang="en-GB" b="1" dirty="0">
                <a:solidFill>
                  <a:srgbClr val="000000"/>
                </a:solidFill>
                <a:latin typeface="Gill Sans MT" pitchFamily="34" charset="0"/>
                <a:cs typeface="Arial" charset="0"/>
              </a:rPr>
              <a:t>June 2013 - onwards</a:t>
            </a:r>
          </a:p>
          <a:p>
            <a:pPr fontAlgn="base">
              <a:spcBef>
                <a:spcPts val="600"/>
              </a:spcBef>
              <a:spcAft>
                <a:spcPct val="0"/>
              </a:spcAft>
              <a:buClr>
                <a:srgbClr val="000000"/>
              </a:buClr>
              <a:buSzPct val="61111"/>
              <a:buFont typeface="Arial"/>
              <a:buNone/>
            </a:pPr>
            <a:r>
              <a:rPr lang="en-GB" dirty="0">
                <a:solidFill>
                  <a:srgbClr val="000000"/>
                </a:solidFill>
                <a:latin typeface="Gill Sans MT" pitchFamily="34" charset="0"/>
                <a:cs typeface="Arial" charset="0"/>
              </a:rPr>
              <a:t>Codification of existing practice into oracy curricula</a:t>
            </a:r>
          </a:p>
        </p:txBody>
      </p:sp>
      <p:sp>
        <p:nvSpPr>
          <p:cNvPr id="82" name="Shape 82"/>
          <p:cNvSpPr/>
          <p:nvPr/>
        </p:nvSpPr>
        <p:spPr>
          <a:xfrm>
            <a:off x="1275500" y="4355161"/>
            <a:ext cx="1772500" cy="2314199"/>
          </a:xfrm>
          <a:prstGeom prst="wedgeRectCallout">
            <a:avLst>
              <a:gd name="adj1" fmla="val -21569"/>
              <a:gd name="adj2" fmla="val -64691"/>
            </a:avLst>
          </a:prstGeom>
          <a:solidFill>
            <a:schemeClr val="bg1">
              <a:lumMod val="75000"/>
            </a:schemeClr>
          </a:solidFill>
          <a:ln>
            <a:noFill/>
          </a:ln>
        </p:spPr>
        <p:txBody>
          <a:bodyPr lIns="91425" tIns="91425" rIns="91425" bIns="91425" anchor="ctr" anchorCtr="0">
            <a:noAutofit/>
          </a:bodyPr>
          <a:lstStyle/>
          <a:p>
            <a:pPr fontAlgn="base">
              <a:spcBef>
                <a:spcPts val="600"/>
              </a:spcBef>
              <a:spcAft>
                <a:spcPct val="0"/>
              </a:spcAft>
            </a:pPr>
            <a:r>
              <a:rPr lang="en-GB" b="1" dirty="0">
                <a:solidFill>
                  <a:srgbClr val="000000"/>
                </a:solidFill>
                <a:latin typeface="Gill Sans MT" pitchFamily="34" charset="0"/>
                <a:cs typeface="Arial" charset="0"/>
              </a:rPr>
              <a:t>July 2013 - onwards</a:t>
            </a:r>
          </a:p>
          <a:p>
            <a:pPr fontAlgn="base">
              <a:spcBef>
                <a:spcPts val="600"/>
              </a:spcBef>
              <a:spcAft>
                <a:spcPct val="0"/>
              </a:spcAft>
            </a:pPr>
            <a:r>
              <a:rPr lang="en-GB" dirty="0">
                <a:solidFill>
                  <a:srgbClr val="000000"/>
                </a:solidFill>
                <a:latin typeface="Gill Sans MT" pitchFamily="34" charset="0"/>
                <a:cs typeface="Arial" charset="0"/>
              </a:rPr>
              <a:t>Working with partners to plug gaps in School 21 expertise</a:t>
            </a:r>
          </a:p>
        </p:txBody>
      </p:sp>
      <p:sp>
        <p:nvSpPr>
          <p:cNvPr id="83" name="Shape 83"/>
          <p:cNvSpPr/>
          <p:nvPr/>
        </p:nvSpPr>
        <p:spPr>
          <a:xfrm>
            <a:off x="2755810" y="832185"/>
            <a:ext cx="1653630" cy="2313900"/>
          </a:xfrm>
          <a:prstGeom prst="wedgeRectCallout">
            <a:avLst>
              <a:gd name="adj1" fmla="val -20833"/>
              <a:gd name="adj2" fmla="val 62500"/>
            </a:avLst>
          </a:prstGeom>
          <a:solidFill>
            <a:schemeClr val="bg1">
              <a:lumMod val="75000"/>
            </a:schemeClr>
          </a:solidFill>
          <a:ln>
            <a:noFill/>
          </a:ln>
        </p:spPr>
        <p:txBody>
          <a:bodyPr lIns="91425" tIns="91425" rIns="91425" bIns="91425" anchor="ctr" anchorCtr="0">
            <a:noAutofit/>
          </a:bodyPr>
          <a:lstStyle/>
          <a:p>
            <a:pPr fontAlgn="base">
              <a:spcBef>
                <a:spcPts val="600"/>
              </a:spcBef>
              <a:spcAft>
                <a:spcPct val="0"/>
              </a:spcAft>
            </a:pPr>
            <a:r>
              <a:rPr lang="en-GB" b="1" dirty="0">
                <a:solidFill>
                  <a:srgbClr val="000000"/>
                </a:solidFill>
                <a:latin typeface="Gill Sans MT" pitchFamily="34" charset="0"/>
                <a:cs typeface="Arial" charset="0"/>
              </a:rPr>
              <a:t>September 2013</a:t>
            </a:r>
          </a:p>
          <a:p>
            <a:pPr fontAlgn="base">
              <a:spcBef>
                <a:spcPts val="600"/>
              </a:spcBef>
              <a:spcAft>
                <a:spcPct val="0"/>
              </a:spcAft>
            </a:pPr>
            <a:r>
              <a:rPr lang="en-GB" dirty="0">
                <a:solidFill>
                  <a:srgbClr val="000000"/>
                </a:solidFill>
                <a:latin typeface="Gill Sans MT" pitchFamily="34" charset="0"/>
                <a:cs typeface="Arial" charset="0"/>
              </a:rPr>
              <a:t>Oracy Curricula taught to years 7 and 8 at School </a:t>
            </a:r>
            <a:r>
              <a:rPr lang="en-GB" dirty="0">
                <a:solidFill>
                  <a:srgbClr val="000000"/>
                </a:solidFill>
                <a:latin typeface="Gill Sans MT" pitchFamily="34" charset="0"/>
                <a:cs typeface="Arial" charset="0"/>
              </a:rPr>
              <a:t>21</a:t>
            </a:r>
          </a:p>
        </p:txBody>
      </p:sp>
      <p:sp>
        <p:nvSpPr>
          <p:cNvPr id="84" name="Shape 84"/>
          <p:cNvSpPr/>
          <p:nvPr/>
        </p:nvSpPr>
        <p:spPr>
          <a:xfrm>
            <a:off x="4409440" y="4355160"/>
            <a:ext cx="1762760" cy="2314199"/>
          </a:xfrm>
          <a:prstGeom prst="wedgeRectCallout">
            <a:avLst>
              <a:gd name="adj1" fmla="val 20035"/>
              <a:gd name="adj2" fmla="val -64691"/>
            </a:avLst>
          </a:prstGeom>
          <a:solidFill>
            <a:schemeClr val="bg1">
              <a:lumMod val="75000"/>
            </a:schemeClr>
          </a:solidFill>
          <a:ln>
            <a:noFill/>
          </a:ln>
        </p:spPr>
        <p:txBody>
          <a:bodyPr lIns="91425" tIns="91425" rIns="91425" bIns="91425" anchor="ctr" anchorCtr="0">
            <a:noAutofit/>
          </a:bodyPr>
          <a:lstStyle/>
          <a:p>
            <a:pPr fontAlgn="base">
              <a:spcBef>
                <a:spcPts val="600"/>
              </a:spcBef>
              <a:spcAft>
                <a:spcPct val="0"/>
              </a:spcAft>
            </a:pPr>
            <a:r>
              <a:rPr lang="en-GB" b="1" dirty="0">
                <a:solidFill>
                  <a:srgbClr val="000000"/>
                </a:solidFill>
                <a:latin typeface="Gill Sans MT" pitchFamily="34" charset="0"/>
                <a:cs typeface="Arial" charset="0"/>
              </a:rPr>
              <a:t>January 2014</a:t>
            </a:r>
          </a:p>
          <a:p>
            <a:pPr fontAlgn="base">
              <a:spcBef>
                <a:spcPts val="600"/>
              </a:spcBef>
              <a:spcAft>
                <a:spcPct val="0"/>
              </a:spcAft>
            </a:pPr>
            <a:r>
              <a:rPr lang="en-GB" dirty="0">
                <a:solidFill>
                  <a:srgbClr val="000000"/>
                </a:solidFill>
                <a:latin typeface="Gill Sans MT" pitchFamily="34" charset="0"/>
                <a:cs typeface="Arial" charset="0"/>
              </a:rPr>
              <a:t>First trial use of assessment tool</a:t>
            </a:r>
          </a:p>
        </p:txBody>
      </p:sp>
      <p:sp>
        <p:nvSpPr>
          <p:cNvPr id="86" name="Shape 86"/>
          <p:cNvSpPr/>
          <p:nvPr/>
        </p:nvSpPr>
        <p:spPr>
          <a:xfrm>
            <a:off x="7239000" y="4355161"/>
            <a:ext cx="1797800" cy="2314199"/>
          </a:xfrm>
          <a:prstGeom prst="wedgeRectCallout">
            <a:avLst>
              <a:gd name="adj1" fmla="val -20866"/>
              <a:gd name="adj2" fmla="val -65789"/>
            </a:avLst>
          </a:prstGeom>
          <a:solidFill>
            <a:schemeClr val="bg1">
              <a:lumMod val="75000"/>
            </a:schemeClr>
          </a:solidFill>
          <a:ln>
            <a:noFill/>
          </a:ln>
        </p:spPr>
        <p:txBody>
          <a:bodyPr lIns="91425" tIns="91425" rIns="91425" bIns="91425" anchor="ctr" anchorCtr="0">
            <a:noAutofit/>
          </a:bodyPr>
          <a:lstStyle/>
          <a:p>
            <a:pPr fontAlgn="base">
              <a:spcBef>
                <a:spcPts val="600"/>
              </a:spcBef>
              <a:spcAft>
                <a:spcPct val="0"/>
              </a:spcAft>
              <a:buClr>
                <a:srgbClr val="000000"/>
              </a:buClr>
              <a:buSzPct val="61111"/>
              <a:buFont typeface="Arial"/>
              <a:buNone/>
            </a:pPr>
            <a:r>
              <a:rPr lang="en-GB" b="1" dirty="0">
                <a:solidFill>
                  <a:srgbClr val="000000"/>
                </a:solidFill>
                <a:latin typeface="Gill Sans MT" pitchFamily="34" charset="0"/>
                <a:cs typeface="Arial" charset="0"/>
              </a:rPr>
              <a:t>September 2014</a:t>
            </a:r>
          </a:p>
          <a:p>
            <a:pPr fontAlgn="base">
              <a:spcBef>
                <a:spcPts val="600"/>
              </a:spcBef>
              <a:spcAft>
                <a:spcPct val="0"/>
              </a:spcAft>
              <a:buClr>
                <a:srgbClr val="000000"/>
              </a:buClr>
              <a:buSzPct val="61111"/>
              <a:buFont typeface="Arial"/>
              <a:buNone/>
            </a:pPr>
            <a:r>
              <a:rPr lang="en-GB" dirty="0">
                <a:solidFill>
                  <a:srgbClr val="000000"/>
                </a:solidFill>
                <a:latin typeface="Gill Sans MT" pitchFamily="34" charset="0"/>
                <a:cs typeface="Arial" charset="0"/>
              </a:rPr>
              <a:t>Resource bank for curriculum and culture online</a:t>
            </a:r>
          </a:p>
        </p:txBody>
      </p:sp>
      <p:sp>
        <p:nvSpPr>
          <p:cNvPr id="87" name="Shape 87"/>
          <p:cNvSpPr/>
          <p:nvPr/>
        </p:nvSpPr>
        <p:spPr>
          <a:xfrm>
            <a:off x="7239000" y="832185"/>
            <a:ext cx="1732550" cy="2313900"/>
          </a:xfrm>
          <a:prstGeom prst="wedgeRectCallout">
            <a:avLst>
              <a:gd name="adj1" fmla="val 20615"/>
              <a:gd name="adj2" fmla="val 61801"/>
            </a:avLst>
          </a:prstGeom>
          <a:solidFill>
            <a:schemeClr val="bg1">
              <a:lumMod val="75000"/>
            </a:schemeClr>
          </a:solidFill>
          <a:ln>
            <a:noFill/>
          </a:ln>
        </p:spPr>
        <p:txBody>
          <a:bodyPr lIns="91425" tIns="91425" rIns="91425" bIns="91425" anchor="ctr" anchorCtr="0">
            <a:noAutofit/>
          </a:bodyPr>
          <a:lstStyle/>
          <a:p>
            <a:pPr fontAlgn="base">
              <a:spcBef>
                <a:spcPts val="600"/>
              </a:spcBef>
              <a:spcAft>
                <a:spcPct val="0"/>
              </a:spcAft>
            </a:pPr>
            <a:r>
              <a:rPr lang="en-GB" b="1" dirty="0">
                <a:solidFill>
                  <a:srgbClr val="000000"/>
                </a:solidFill>
                <a:latin typeface="Gill Sans MT" pitchFamily="34" charset="0"/>
                <a:cs typeface="Arial" charset="0"/>
              </a:rPr>
              <a:t>October </a:t>
            </a:r>
            <a:r>
              <a:rPr lang="en-GB" b="1" dirty="0">
                <a:solidFill>
                  <a:srgbClr val="000000"/>
                </a:solidFill>
                <a:latin typeface="Gill Sans MT" pitchFamily="34" charset="0"/>
                <a:cs typeface="Arial" charset="0"/>
              </a:rPr>
              <a:t>2014</a:t>
            </a:r>
          </a:p>
          <a:p>
            <a:pPr fontAlgn="base">
              <a:spcBef>
                <a:spcPts val="600"/>
              </a:spcBef>
              <a:spcAft>
                <a:spcPct val="0"/>
              </a:spcAft>
            </a:pPr>
            <a:r>
              <a:rPr lang="en-GB" dirty="0">
                <a:solidFill>
                  <a:srgbClr val="000000"/>
                </a:solidFill>
                <a:latin typeface="Gill Sans MT" pitchFamily="34" charset="0"/>
                <a:cs typeface="Arial" charset="0"/>
              </a:rPr>
              <a:t>Delivery of finished assessment tool</a:t>
            </a:r>
            <a:endParaRPr lang="en-GB" dirty="0">
              <a:solidFill>
                <a:srgbClr val="000000"/>
              </a:solidFill>
              <a:latin typeface="Gill Sans MT" pitchFamily="34" charset="0"/>
              <a:cs typeface="Arial" charset="0"/>
            </a:endParaRPr>
          </a:p>
        </p:txBody>
      </p:sp>
      <p:sp>
        <p:nvSpPr>
          <p:cNvPr id="88" name="Shape 88"/>
          <p:cNvSpPr/>
          <p:nvPr/>
        </p:nvSpPr>
        <p:spPr>
          <a:xfrm>
            <a:off x="-36512" y="3620124"/>
            <a:ext cx="1664699" cy="260999"/>
          </a:xfrm>
          <a:prstGeom prst="homePlate">
            <a:avLst>
              <a:gd name="adj" fmla="val 50000"/>
            </a:avLst>
          </a:prstGeom>
          <a:solidFill>
            <a:srgbClr val="8E7CC3"/>
          </a:solidFill>
          <a:ln w="19050" cap="flat">
            <a:noFill/>
            <a:prstDash val="solid"/>
            <a:round/>
            <a:headEnd type="none" w="med" len="med"/>
            <a:tailEnd type="none" w="med" len="med"/>
          </a:ln>
        </p:spPr>
        <p:txBody>
          <a:bodyPr lIns="91425" tIns="91425" rIns="91425" bIns="91425" anchor="ctr" anchorCtr="0">
            <a:noAutofit/>
          </a:bodyPr>
          <a:lstStyle/>
          <a:p>
            <a:pPr fontAlgn="base">
              <a:spcBef>
                <a:spcPct val="0"/>
              </a:spcBef>
              <a:spcAft>
                <a:spcPct val="0"/>
              </a:spcAft>
            </a:pPr>
            <a:r>
              <a:rPr lang="en-GB" sz="1200" b="1">
                <a:solidFill>
                  <a:srgbClr val="FFFFFF"/>
                </a:solidFill>
                <a:latin typeface="Gill Sans MT" pitchFamily="34" charset="0"/>
                <a:cs typeface="Arial" charset="0"/>
              </a:rPr>
              <a:t>Summer term 2013</a:t>
            </a:r>
          </a:p>
        </p:txBody>
      </p:sp>
      <p:sp>
        <p:nvSpPr>
          <p:cNvPr id="89" name="Shape 89"/>
          <p:cNvSpPr/>
          <p:nvPr/>
        </p:nvSpPr>
        <p:spPr>
          <a:xfrm>
            <a:off x="2915816" y="3620124"/>
            <a:ext cx="1664699" cy="260999"/>
          </a:xfrm>
          <a:prstGeom prst="homePlate">
            <a:avLst>
              <a:gd name="adj" fmla="val 50000"/>
            </a:avLst>
          </a:prstGeom>
          <a:solidFill>
            <a:srgbClr val="8E7CC3"/>
          </a:solidFill>
          <a:ln w="19050" cap="flat">
            <a:noFill/>
            <a:prstDash val="solid"/>
            <a:round/>
            <a:headEnd type="none" w="med" len="med"/>
            <a:tailEnd type="none" w="med" len="med"/>
          </a:ln>
        </p:spPr>
        <p:txBody>
          <a:bodyPr lIns="91425" tIns="91425" rIns="91425" bIns="91425" anchor="ctr" anchorCtr="0">
            <a:noAutofit/>
          </a:bodyPr>
          <a:lstStyle/>
          <a:p>
            <a:pPr fontAlgn="base">
              <a:spcBef>
                <a:spcPct val="0"/>
              </a:spcBef>
              <a:spcAft>
                <a:spcPct val="0"/>
              </a:spcAft>
            </a:pPr>
            <a:r>
              <a:rPr lang="en-GB" sz="1200" b="1">
                <a:solidFill>
                  <a:srgbClr val="FFFFFF"/>
                </a:solidFill>
                <a:latin typeface="Gill Sans MT" pitchFamily="34" charset="0"/>
                <a:cs typeface="Arial" charset="0"/>
              </a:rPr>
              <a:t>Autumn term 2013</a:t>
            </a:r>
          </a:p>
        </p:txBody>
      </p:sp>
      <p:sp>
        <p:nvSpPr>
          <p:cNvPr id="90" name="Shape 90"/>
          <p:cNvSpPr/>
          <p:nvPr/>
        </p:nvSpPr>
        <p:spPr>
          <a:xfrm>
            <a:off x="1619672" y="3627836"/>
            <a:ext cx="1292999" cy="260999"/>
          </a:xfrm>
          <a:prstGeom prst="homePlate">
            <a:avLst>
              <a:gd name="adj" fmla="val 50000"/>
            </a:avLst>
          </a:prstGeom>
          <a:solidFill>
            <a:srgbClr val="D9D2E9"/>
          </a:solidFill>
          <a:ln w="19050" cap="flat">
            <a:noFill/>
            <a:prstDash val="solid"/>
            <a:round/>
            <a:headEnd type="none" w="med" len="med"/>
            <a:tailEnd type="none" w="med" len="med"/>
          </a:ln>
        </p:spPr>
        <p:txBody>
          <a:bodyPr lIns="91425" tIns="91425" rIns="91425" bIns="91425" anchor="ctr" anchorCtr="0">
            <a:noAutofit/>
          </a:bodyPr>
          <a:lstStyle/>
          <a:p>
            <a:pPr fontAlgn="base">
              <a:spcBef>
                <a:spcPct val="0"/>
              </a:spcBef>
              <a:spcAft>
                <a:spcPct val="0"/>
              </a:spcAft>
            </a:pPr>
            <a:r>
              <a:rPr lang="en-GB" sz="1000" b="1">
                <a:solidFill>
                  <a:srgbClr val="000000"/>
                </a:solidFill>
                <a:latin typeface="Gill Sans MT" pitchFamily="34" charset="0"/>
                <a:cs typeface="Arial" charset="0"/>
              </a:rPr>
              <a:t>Summer holiday</a:t>
            </a:r>
          </a:p>
        </p:txBody>
      </p:sp>
      <p:sp>
        <p:nvSpPr>
          <p:cNvPr id="91" name="Shape 91"/>
          <p:cNvSpPr/>
          <p:nvPr/>
        </p:nvSpPr>
        <p:spPr>
          <a:xfrm>
            <a:off x="4572000" y="3627836"/>
            <a:ext cx="1043399" cy="260999"/>
          </a:xfrm>
          <a:prstGeom prst="homePlate">
            <a:avLst>
              <a:gd name="adj" fmla="val 50000"/>
            </a:avLst>
          </a:prstGeom>
          <a:solidFill>
            <a:srgbClr val="D9D2E9"/>
          </a:solidFill>
          <a:ln w="19050" cap="flat">
            <a:noFill/>
            <a:prstDash val="solid"/>
            <a:round/>
            <a:headEnd type="none" w="med" len="med"/>
            <a:tailEnd type="none" w="med" len="med"/>
          </a:ln>
        </p:spPr>
        <p:txBody>
          <a:bodyPr lIns="91425" tIns="91425" rIns="91425" bIns="91425" anchor="ctr" anchorCtr="0">
            <a:noAutofit/>
          </a:bodyPr>
          <a:lstStyle/>
          <a:p>
            <a:pPr fontAlgn="base">
              <a:spcBef>
                <a:spcPct val="0"/>
              </a:spcBef>
              <a:spcAft>
                <a:spcPct val="0"/>
              </a:spcAft>
            </a:pPr>
            <a:r>
              <a:rPr lang="en-GB" sz="1000" b="1">
                <a:solidFill>
                  <a:srgbClr val="000000"/>
                </a:solidFill>
                <a:latin typeface="Gill Sans MT" pitchFamily="34" charset="0"/>
                <a:cs typeface="Arial" charset="0"/>
              </a:rPr>
              <a:t>Xmas holiday</a:t>
            </a:r>
          </a:p>
        </p:txBody>
      </p:sp>
      <p:sp>
        <p:nvSpPr>
          <p:cNvPr id="92" name="Shape 92"/>
          <p:cNvSpPr/>
          <p:nvPr/>
        </p:nvSpPr>
        <p:spPr>
          <a:xfrm>
            <a:off x="5652120" y="3620124"/>
            <a:ext cx="1429199" cy="260999"/>
          </a:xfrm>
          <a:prstGeom prst="homePlate">
            <a:avLst>
              <a:gd name="adj" fmla="val 50000"/>
            </a:avLst>
          </a:prstGeom>
          <a:solidFill>
            <a:srgbClr val="8E7CC3"/>
          </a:solidFill>
          <a:ln w="19050" cap="flat">
            <a:noFill/>
            <a:prstDash val="solid"/>
            <a:round/>
            <a:headEnd type="none" w="med" len="med"/>
            <a:tailEnd type="none" w="med" len="med"/>
          </a:ln>
        </p:spPr>
        <p:txBody>
          <a:bodyPr lIns="91425" tIns="91425" rIns="91425" bIns="91425" anchor="ctr" anchorCtr="0">
            <a:noAutofit/>
          </a:bodyPr>
          <a:lstStyle/>
          <a:p>
            <a:pPr fontAlgn="base">
              <a:spcBef>
                <a:spcPct val="0"/>
              </a:spcBef>
              <a:spcAft>
                <a:spcPct val="0"/>
              </a:spcAft>
            </a:pPr>
            <a:r>
              <a:rPr lang="en-GB" sz="1200" b="1">
                <a:solidFill>
                  <a:srgbClr val="FFFFFF"/>
                </a:solidFill>
                <a:latin typeface="Gill Sans MT" pitchFamily="34" charset="0"/>
                <a:cs typeface="Arial" charset="0"/>
              </a:rPr>
              <a:t>Spring term 2014</a:t>
            </a:r>
          </a:p>
        </p:txBody>
      </p:sp>
      <p:sp>
        <p:nvSpPr>
          <p:cNvPr id="93" name="Shape 93"/>
          <p:cNvSpPr/>
          <p:nvPr/>
        </p:nvSpPr>
        <p:spPr>
          <a:xfrm>
            <a:off x="7092280" y="3627836"/>
            <a:ext cx="832799" cy="260999"/>
          </a:xfrm>
          <a:prstGeom prst="homePlate">
            <a:avLst>
              <a:gd name="adj" fmla="val 50000"/>
            </a:avLst>
          </a:prstGeom>
          <a:solidFill>
            <a:srgbClr val="D9D2E9"/>
          </a:solidFill>
          <a:ln w="19050" cap="flat">
            <a:noFill/>
            <a:prstDash val="solid"/>
            <a:round/>
            <a:headEnd type="none" w="med" len="med"/>
            <a:tailEnd type="none" w="med" len="med"/>
          </a:ln>
        </p:spPr>
        <p:txBody>
          <a:bodyPr lIns="91425" tIns="91425" rIns="91425" bIns="91425" anchor="ctr" anchorCtr="0">
            <a:noAutofit/>
          </a:bodyPr>
          <a:lstStyle/>
          <a:p>
            <a:pPr fontAlgn="base">
              <a:spcBef>
                <a:spcPct val="0"/>
              </a:spcBef>
              <a:spcAft>
                <a:spcPct val="0"/>
              </a:spcAft>
            </a:pPr>
            <a:r>
              <a:rPr lang="en-GB" sz="1000" b="1" dirty="0">
                <a:solidFill>
                  <a:srgbClr val="000000"/>
                </a:solidFill>
                <a:latin typeface="Gill Sans MT" pitchFamily="34" charset="0"/>
                <a:cs typeface="Arial" charset="0"/>
              </a:rPr>
              <a:t>Summer holiday</a:t>
            </a:r>
          </a:p>
        </p:txBody>
      </p:sp>
      <p:sp>
        <p:nvSpPr>
          <p:cNvPr id="94" name="Shape 94"/>
          <p:cNvSpPr/>
          <p:nvPr/>
        </p:nvSpPr>
        <p:spPr>
          <a:xfrm>
            <a:off x="7919791" y="3511182"/>
            <a:ext cx="1251406" cy="466909"/>
          </a:xfrm>
          <a:prstGeom prst="homePlate">
            <a:avLst>
              <a:gd name="adj" fmla="val 50000"/>
            </a:avLst>
          </a:prstGeom>
          <a:solidFill>
            <a:srgbClr val="8E7CC3"/>
          </a:solidFill>
          <a:ln w="19050" cap="flat">
            <a:noFill/>
            <a:prstDash val="solid"/>
            <a:round/>
            <a:headEnd type="none" w="med" len="med"/>
            <a:tailEnd type="none" w="med" len="med"/>
          </a:ln>
        </p:spPr>
        <p:txBody>
          <a:bodyPr lIns="91425" tIns="91425" rIns="91425" bIns="91425" anchor="ctr" anchorCtr="0">
            <a:noAutofit/>
          </a:bodyPr>
          <a:lstStyle/>
          <a:p>
            <a:pPr fontAlgn="base">
              <a:spcBef>
                <a:spcPct val="0"/>
              </a:spcBef>
              <a:spcAft>
                <a:spcPct val="0"/>
              </a:spcAft>
            </a:pPr>
            <a:r>
              <a:rPr lang="en-GB" sz="1200" b="1">
                <a:solidFill>
                  <a:srgbClr val="FFFFFF"/>
                </a:solidFill>
                <a:latin typeface="Gill Sans MT" pitchFamily="34" charset="0"/>
                <a:cs typeface="Arial" charset="0"/>
              </a:rPr>
              <a:t>Autumn term 2014</a:t>
            </a:r>
          </a:p>
        </p:txBody>
      </p:sp>
      <p:sp>
        <p:nvSpPr>
          <p:cNvPr id="17" name="Shape 87"/>
          <p:cNvSpPr/>
          <p:nvPr/>
        </p:nvSpPr>
        <p:spPr>
          <a:xfrm>
            <a:off x="5372100" y="841725"/>
            <a:ext cx="1783320" cy="2313900"/>
          </a:xfrm>
          <a:prstGeom prst="wedgeRectCallout">
            <a:avLst>
              <a:gd name="adj1" fmla="val 20615"/>
              <a:gd name="adj2" fmla="val 61801"/>
            </a:avLst>
          </a:prstGeom>
          <a:solidFill>
            <a:schemeClr val="bg1">
              <a:lumMod val="75000"/>
            </a:schemeClr>
          </a:solidFill>
          <a:ln>
            <a:noFill/>
          </a:ln>
        </p:spPr>
        <p:txBody>
          <a:bodyPr lIns="91425" tIns="91425" rIns="91425" bIns="91425" anchor="ctr" anchorCtr="0">
            <a:noAutofit/>
          </a:bodyPr>
          <a:lstStyle/>
          <a:p>
            <a:pPr fontAlgn="base">
              <a:spcBef>
                <a:spcPts val="600"/>
              </a:spcBef>
              <a:spcAft>
                <a:spcPct val="0"/>
              </a:spcAft>
            </a:pPr>
            <a:r>
              <a:rPr lang="en-GB" b="1" dirty="0">
                <a:solidFill>
                  <a:srgbClr val="000000"/>
                </a:solidFill>
                <a:latin typeface="Gill Sans MT" pitchFamily="34" charset="0"/>
                <a:cs typeface="Arial" charset="0"/>
              </a:rPr>
              <a:t>April </a:t>
            </a:r>
            <a:r>
              <a:rPr lang="en-GB" b="1" dirty="0">
                <a:solidFill>
                  <a:srgbClr val="000000"/>
                </a:solidFill>
                <a:latin typeface="Gill Sans MT" pitchFamily="34" charset="0"/>
                <a:cs typeface="Arial" charset="0"/>
              </a:rPr>
              <a:t>2014</a:t>
            </a:r>
          </a:p>
          <a:p>
            <a:pPr fontAlgn="base">
              <a:spcBef>
                <a:spcPts val="600"/>
              </a:spcBef>
              <a:spcAft>
                <a:spcPct val="0"/>
              </a:spcAft>
            </a:pPr>
            <a:r>
              <a:rPr lang="en-GB" dirty="0">
                <a:solidFill>
                  <a:srgbClr val="000000"/>
                </a:solidFill>
                <a:latin typeface="Gill Sans MT" pitchFamily="34" charset="0"/>
                <a:cs typeface="Arial" charset="0"/>
              </a:rPr>
              <a:t>Trial of refined assessment tool</a:t>
            </a:r>
            <a:endParaRPr lang="en-GB" dirty="0">
              <a:solidFill>
                <a:srgbClr val="000000"/>
              </a:solidFill>
              <a:latin typeface="Gill Sans MT" pitchFamily="34" charset="0"/>
              <a:cs typeface="Arial" charset="0"/>
            </a:endParaRPr>
          </a:p>
        </p:txBody>
      </p:sp>
    </p:spTree>
    <p:extLst>
      <p:ext uri="{BB962C8B-B14F-4D97-AF65-F5344CB8AC3E}">
        <p14:creationId xmlns:p14="http://schemas.microsoft.com/office/powerpoint/2010/main" val="2239730412"/>
      </p:ext>
    </p:extLst>
  </p:cSld>
  <p:clrMapOvr>
    <a:masterClrMapping/>
  </p:clrMapOvr>
  <p:transition spd="slow">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76672"/>
            <a:ext cx="9144000" cy="1080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Gill Sans MT" pitchFamily="34" charset="0"/>
            </a:endParaRPr>
          </a:p>
        </p:txBody>
      </p:sp>
      <p:grpSp>
        <p:nvGrpSpPr>
          <p:cNvPr id="2" name="Group 1"/>
          <p:cNvGrpSpPr/>
          <p:nvPr/>
        </p:nvGrpSpPr>
        <p:grpSpPr>
          <a:xfrm>
            <a:off x="457200" y="552872"/>
            <a:ext cx="8229600" cy="6116488"/>
            <a:chOff x="457200" y="552872"/>
            <a:chExt cx="8229600" cy="6116488"/>
          </a:xfrm>
        </p:grpSpPr>
        <p:sp>
          <p:nvSpPr>
            <p:cNvPr id="3" name="Freeform 2"/>
            <p:cNvSpPr/>
            <p:nvPr/>
          </p:nvSpPr>
          <p:spPr>
            <a:xfrm>
              <a:off x="457200" y="552872"/>
              <a:ext cx="8229600" cy="1545322"/>
            </a:xfrm>
            <a:custGeom>
              <a:avLst/>
              <a:gdLst>
                <a:gd name="connsiteX0" fmla="*/ 0 w 8229600"/>
                <a:gd name="connsiteY0" fmla="*/ 257559 h 1545322"/>
                <a:gd name="connsiteX1" fmla="*/ 257559 w 8229600"/>
                <a:gd name="connsiteY1" fmla="*/ 0 h 1545322"/>
                <a:gd name="connsiteX2" fmla="*/ 7972041 w 8229600"/>
                <a:gd name="connsiteY2" fmla="*/ 0 h 1545322"/>
                <a:gd name="connsiteX3" fmla="*/ 8229600 w 8229600"/>
                <a:gd name="connsiteY3" fmla="*/ 257559 h 1545322"/>
                <a:gd name="connsiteX4" fmla="*/ 8229600 w 8229600"/>
                <a:gd name="connsiteY4" fmla="*/ 1287763 h 1545322"/>
                <a:gd name="connsiteX5" fmla="*/ 7972041 w 8229600"/>
                <a:gd name="connsiteY5" fmla="*/ 1545322 h 1545322"/>
                <a:gd name="connsiteX6" fmla="*/ 257559 w 8229600"/>
                <a:gd name="connsiteY6" fmla="*/ 1545322 h 1545322"/>
                <a:gd name="connsiteX7" fmla="*/ 0 w 8229600"/>
                <a:gd name="connsiteY7" fmla="*/ 1287763 h 1545322"/>
                <a:gd name="connsiteX8" fmla="*/ 0 w 8229600"/>
                <a:gd name="connsiteY8" fmla="*/ 257559 h 154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9600" h="1545322">
                  <a:moveTo>
                    <a:pt x="0" y="257559"/>
                  </a:moveTo>
                  <a:cubicBezTo>
                    <a:pt x="0" y="115313"/>
                    <a:pt x="115313" y="0"/>
                    <a:pt x="257559" y="0"/>
                  </a:cubicBezTo>
                  <a:lnTo>
                    <a:pt x="7972041" y="0"/>
                  </a:lnTo>
                  <a:cubicBezTo>
                    <a:pt x="8114287" y="0"/>
                    <a:pt x="8229600" y="115313"/>
                    <a:pt x="8229600" y="257559"/>
                  </a:cubicBezTo>
                  <a:lnTo>
                    <a:pt x="8229600" y="1287763"/>
                  </a:lnTo>
                  <a:cubicBezTo>
                    <a:pt x="8229600" y="1430009"/>
                    <a:pt x="8114287" y="1545322"/>
                    <a:pt x="7972041" y="1545322"/>
                  </a:cubicBezTo>
                  <a:lnTo>
                    <a:pt x="257559" y="1545322"/>
                  </a:lnTo>
                  <a:cubicBezTo>
                    <a:pt x="115313" y="1545322"/>
                    <a:pt x="0" y="1430009"/>
                    <a:pt x="0" y="1287763"/>
                  </a:cubicBezTo>
                  <a:lnTo>
                    <a:pt x="0" y="257559"/>
                  </a:lnTo>
                  <a:close/>
                </a:path>
              </a:pathLst>
            </a:custGeom>
          </p:spPr>
          <p:style>
            <a:lnRef idx="2">
              <a:schemeClr val="accent4">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66876" tIns="166876" rIns="166876" bIns="166876" numCol="1" spcCol="1270" anchor="ctr" anchorCtr="0">
              <a:noAutofit/>
            </a:bodyPr>
            <a:lstStyle/>
            <a:p>
              <a:pPr lvl="0" algn="l" defTabSz="1066800" rtl="0">
                <a:lnSpc>
                  <a:spcPct val="90000"/>
                </a:lnSpc>
                <a:spcBef>
                  <a:spcPct val="0"/>
                </a:spcBef>
                <a:spcAft>
                  <a:spcPct val="35000"/>
                </a:spcAft>
              </a:pPr>
              <a:r>
                <a:rPr lang="en-GB" sz="2400" b="0" i="0" kern="1200" baseline="0" smtClean="0">
                  <a:latin typeface="Gill Sans MT" pitchFamily="34" charset="0"/>
                </a:rPr>
                <a:t>Voice 21 is a joint project between School 21, Cambridge University and the Education Endowment Foundation.</a:t>
              </a:r>
              <a:endParaRPr lang="en-GB" sz="2400" kern="1200" dirty="0">
                <a:latin typeface="Gill Sans MT" pitchFamily="34" charset="0"/>
              </a:endParaRPr>
            </a:p>
          </p:txBody>
        </p:sp>
        <p:sp>
          <p:nvSpPr>
            <p:cNvPr id="5" name="Freeform 4"/>
            <p:cNvSpPr/>
            <p:nvPr/>
          </p:nvSpPr>
          <p:spPr>
            <a:xfrm>
              <a:off x="457200" y="2196318"/>
              <a:ext cx="8229600" cy="1545322"/>
            </a:xfrm>
            <a:custGeom>
              <a:avLst/>
              <a:gdLst>
                <a:gd name="connsiteX0" fmla="*/ 0 w 8229600"/>
                <a:gd name="connsiteY0" fmla="*/ 257559 h 1545322"/>
                <a:gd name="connsiteX1" fmla="*/ 257559 w 8229600"/>
                <a:gd name="connsiteY1" fmla="*/ 0 h 1545322"/>
                <a:gd name="connsiteX2" fmla="*/ 7972041 w 8229600"/>
                <a:gd name="connsiteY2" fmla="*/ 0 h 1545322"/>
                <a:gd name="connsiteX3" fmla="*/ 8229600 w 8229600"/>
                <a:gd name="connsiteY3" fmla="*/ 257559 h 1545322"/>
                <a:gd name="connsiteX4" fmla="*/ 8229600 w 8229600"/>
                <a:gd name="connsiteY4" fmla="*/ 1287763 h 1545322"/>
                <a:gd name="connsiteX5" fmla="*/ 7972041 w 8229600"/>
                <a:gd name="connsiteY5" fmla="*/ 1545322 h 1545322"/>
                <a:gd name="connsiteX6" fmla="*/ 257559 w 8229600"/>
                <a:gd name="connsiteY6" fmla="*/ 1545322 h 1545322"/>
                <a:gd name="connsiteX7" fmla="*/ 0 w 8229600"/>
                <a:gd name="connsiteY7" fmla="*/ 1287763 h 1545322"/>
                <a:gd name="connsiteX8" fmla="*/ 0 w 8229600"/>
                <a:gd name="connsiteY8" fmla="*/ 257559 h 154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9600" h="1545322">
                  <a:moveTo>
                    <a:pt x="0" y="257559"/>
                  </a:moveTo>
                  <a:cubicBezTo>
                    <a:pt x="0" y="115313"/>
                    <a:pt x="115313" y="0"/>
                    <a:pt x="257559" y="0"/>
                  </a:cubicBezTo>
                  <a:lnTo>
                    <a:pt x="7972041" y="0"/>
                  </a:lnTo>
                  <a:cubicBezTo>
                    <a:pt x="8114287" y="0"/>
                    <a:pt x="8229600" y="115313"/>
                    <a:pt x="8229600" y="257559"/>
                  </a:cubicBezTo>
                  <a:lnTo>
                    <a:pt x="8229600" y="1287763"/>
                  </a:lnTo>
                  <a:cubicBezTo>
                    <a:pt x="8229600" y="1430009"/>
                    <a:pt x="8114287" y="1545322"/>
                    <a:pt x="7972041" y="1545322"/>
                  </a:cubicBezTo>
                  <a:lnTo>
                    <a:pt x="257559" y="1545322"/>
                  </a:lnTo>
                  <a:cubicBezTo>
                    <a:pt x="115313" y="1545322"/>
                    <a:pt x="0" y="1430009"/>
                    <a:pt x="0" y="1287763"/>
                  </a:cubicBezTo>
                  <a:lnTo>
                    <a:pt x="0" y="257559"/>
                  </a:lnTo>
                  <a:close/>
                </a:path>
              </a:pathLst>
            </a:custGeom>
          </p:spPr>
          <p:style>
            <a:lnRef idx="2">
              <a:schemeClr val="accent4">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66876" tIns="166876" rIns="166876" bIns="166876" numCol="1" spcCol="1270" anchor="ctr" anchorCtr="0">
              <a:noAutofit/>
            </a:bodyPr>
            <a:lstStyle/>
            <a:p>
              <a:pPr lvl="0" algn="l" defTabSz="1066800" rtl="0">
                <a:lnSpc>
                  <a:spcPct val="90000"/>
                </a:lnSpc>
                <a:spcBef>
                  <a:spcPct val="0"/>
                </a:spcBef>
                <a:spcAft>
                  <a:spcPct val="35000"/>
                </a:spcAft>
              </a:pPr>
              <a:r>
                <a:rPr lang="en-GB" sz="2400" b="0" i="0" kern="1200" baseline="0" smtClean="0">
                  <a:latin typeface="Gill Sans MT" pitchFamily="34" charset="0"/>
                </a:rPr>
                <a:t>Oracy is a fundamental life skill which is currently ignored  in schools. It is important for children today and as they grow up.</a:t>
              </a:r>
              <a:endParaRPr lang="en-GB" sz="2400" kern="1200" dirty="0">
                <a:latin typeface="Gill Sans MT" pitchFamily="34" charset="0"/>
              </a:endParaRPr>
            </a:p>
          </p:txBody>
        </p:sp>
        <p:sp>
          <p:nvSpPr>
            <p:cNvPr id="8" name="Freeform 7"/>
            <p:cNvSpPr/>
            <p:nvPr/>
          </p:nvSpPr>
          <p:spPr>
            <a:xfrm>
              <a:off x="457200" y="3827894"/>
              <a:ext cx="8229600" cy="1545322"/>
            </a:xfrm>
            <a:custGeom>
              <a:avLst/>
              <a:gdLst>
                <a:gd name="connsiteX0" fmla="*/ 0 w 8229600"/>
                <a:gd name="connsiteY0" fmla="*/ 257559 h 1545322"/>
                <a:gd name="connsiteX1" fmla="*/ 257559 w 8229600"/>
                <a:gd name="connsiteY1" fmla="*/ 0 h 1545322"/>
                <a:gd name="connsiteX2" fmla="*/ 7972041 w 8229600"/>
                <a:gd name="connsiteY2" fmla="*/ 0 h 1545322"/>
                <a:gd name="connsiteX3" fmla="*/ 8229600 w 8229600"/>
                <a:gd name="connsiteY3" fmla="*/ 257559 h 1545322"/>
                <a:gd name="connsiteX4" fmla="*/ 8229600 w 8229600"/>
                <a:gd name="connsiteY4" fmla="*/ 1287763 h 1545322"/>
                <a:gd name="connsiteX5" fmla="*/ 7972041 w 8229600"/>
                <a:gd name="connsiteY5" fmla="*/ 1545322 h 1545322"/>
                <a:gd name="connsiteX6" fmla="*/ 257559 w 8229600"/>
                <a:gd name="connsiteY6" fmla="*/ 1545322 h 1545322"/>
                <a:gd name="connsiteX7" fmla="*/ 0 w 8229600"/>
                <a:gd name="connsiteY7" fmla="*/ 1287763 h 1545322"/>
                <a:gd name="connsiteX8" fmla="*/ 0 w 8229600"/>
                <a:gd name="connsiteY8" fmla="*/ 257559 h 154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9600" h="1545322">
                  <a:moveTo>
                    <a:pt x="0" y="257559"/>
                  </a:moveTo>
                  <a:cubicBezTo>
                    <a:pt x="0" y="115313"/>
                    <a:pt x="115313" y="0"/>
                    <a:pt x="257559" y="0"/>
                  </a:cubicBezTo>
                  <a:lnTo>
                    <a:pt x="7972041" y="0"/>
                  </a:lnTo>
                  <a:cubicBezTo>
                    <a:pt x="8114287" y="0"/>
                    <a:pt x="8229600" y="115313"/>
                    <a:pt x="8229600" y="257559"/>
                  </a:cubicBezTo>
                  <a:lnTo>
                    <a:pt x="8229600" y="1287763"/>
                  </a:lnTo>
                  <a:cubicBezTo>
                    <a:pt x="8229600" y="1430009"/>
                    <a:pt x="8114287" y="1545322"/>
                    <a:pt x="7972041" y="1545322"/>
                  </a:cubicBezTo>
                  <a:lnTo>
                    <a:pt x="257559" y="1545322"/>
                  </a:lnTo>
                  <a:cubicBezTo>
                    <a:pt x="115313" y="1545322"/>
                    <a:pt x="0" y="1430009"/>
                    <a:pt x="0" y="1287763"/>
                  </a:cubicBezTo>
                  <a:lnTo>
                    <a:pt x="0" y="257559"/>
                  </a:lnTo>
                  <a:close/>
                </a:path>
              </a:pathLst>
            </a:custGeom>
          </p:spPr>
          <p:style>
            <a:lnRef idx="2">
              <a:schemeClr val="accent4">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66876" tIns="166876" rIns="166876" bIns="166876" numCol="1" spcCol="1270" anchor="ctr" anchorCtr="0">
              <a:noAutofit/>
            </a:bodyPr>
            <a:lstStyle/>
            <a:p>
              <a:pPr lvl="0" algn="l" defTabSz="1066800" rtl="0">
                <a:lnSpc>
                  <a:spcPct val="90000"/>
                </a:lnSpc>
                <a:spcBef>
                  <a:spcPct val="0"/>
                </a:spcBef>
                <a:spcAft>
                  <a:spcPct val="35000"/>
                </a:spcAft>
              </a:pPr>
              <a:r>
                <a:rPr lang="en-GB" sz="2400" b="0" i="0" kern="1200" baseline="0" dirty="0" smtClean="0">
                  <a:latin typeface="Gill Sans MT" pitchFamily="34" charset="0"/>
                </a:rPr>
                <a:t>The project aims to develop students’ oracy skills by developing, testing and then rolling out an assessment tool and curriculum resources. Its long term ambition is to help oracy achieve equal status with literacy and numeracy.</a:t>
              </a:r>
              <a:endParaRPr lang="en-GB" sz="2400" kern="1200" dirty="0">
                <a:latin typeface="Gill Sans MT" pitchFamily="34" charset="0"/>
              </a:endParaRPr>
            </a:p>
          </p:txBody>
        </p:sp>
        <p:sp>
          <p:nvSpPr>
            <p:cNvPr id="9" name="Freeform 8"/>
            <p:cNvSpPr/>
            <p:nvPr/>
          </p:nvSpPr>
          <p:spPr>
            <a:xfrm>
              <a:off x="457200" y="5508337"/>
              <a:ext cx="8229600" cy="1161023"/>
            </a:xfrm>
            <a:custGeom>
              <a:avLst/>
              <a:gdLst>
                <a:gd name="connsiteX0" fmla="*/ 0 w 8229600"/>
                <a:gd name="connsiteY0" fmla="*/ 257559 h 1545322"/>
                <a:gd name="connsiteX1" fmla="*/ 257559 w 8229600"/>
                <a:gd name="connsiteY1" fmla="*/ 0 h 1545322"/>
                <a:gd name="connsiteX2" fmla="*/ 7972041 w 8229600"/>
                <a:gd name="connsiteY2" fmla="*/ 0 h 1545322"/>
                <a:gd name="connsiteX3" fmla="*/ 8229600 w 8229600"/>
                <a:gd name="connsiteY3" fmla="*/ 257559 h 1545322"/>
                <a:gd name="connsiteX4" fmla="*/ 8229600 w 8229600"/>
                <a:gd name="connsiteY4" fmla="*/ 1287763 h 1545322"/>
                <a:gd name="connsiteX5" fmla="*/ 7972041 w 8229600"/>
                <a:gd name="connsiteY5" fmla="*/ 1545322 h 1545322"/>
                <a:gd name="connsiteX6" fmla="*/ 257559 w 8229600"/>
                <a:gd name="connsiteY6" fmla="*/ 1545322 h 1545322"/>
                <a:gd name="connsiteX7" fmla="*/ 0 w 8229600"/>
                <a:gd name="connsiteY7" fmla="*/ 1287763 h 1545322"/>
                <a:gd name="connsiteX8" fmla="*/ 0 w 8229600"/>
                <a:gd name="connsiteY8" fmla="*/ 257559 h 1545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9600" h="1545322">
                  <a:moveTo>
                    <a:pt x="0" y="257559"/>
                  </a:moveTo>
                  <a:cubicBezTo>
                    <a:pt x="0" y="115313"/>
                    <a:pt x="115313" y="0"/>
                    <a:pt x="257559" y="0"/>
                  </a:cubicBezTo>
                  <a:lnTo>
                    <a:pt x="7972041" y="0"/>
                  </a:lnTo>
                  <a:cubicBezTo>
                    <a:pt x="8114287" y="0"/>
                    <a:pt x="8229600" y="115313"/>
                    <a:pt x="8229600" y="257559"/>
                  </a:cubicBezTo>
                  <a:lnTo>
                    <a:pt x="8229600" y="1287763"/>
                  </a:lnTo>
                  <a:cubicBezTo>
                    <a:pt x="8229600" y="1430009"/>
                    <a:pt x="8114287" y="1545322"/>
                    <a:pt x="7972041" y="1545322"/>
                  </a:cubicBezTo>
                  <a:lnTo>
                    <a:pt x="257559" y="1545322"/>
                  </a:lnTo>
                  <a:cubicBezTo>
                    <a:pt x="115313" y="1545322"/>
                    <a:pt x="0" y="1430009"/>
                    <a:pt x="0" y="1287763"/>
                  </a:cubicBezTo>
                  <a:lnTo>
                    <a:pt x="0" y="257559"/>
                  </a:lnTo>
                  <a:close/>
                </a:path>
              </a:pathLst>
            </a:custGeom>
          </p:spPr>
          <p:style>
            <a:lnRef idx="2">
              <a:schemeClr val="accent4">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66876" tIns="166876" rIns="166876" bIns="166876" numCol="1" spcCol="1270" anchor="ctr" anchorCtr="0">
              <a:noAutofit/>
            </a:bodyPr>
            <a:lstStyle/>
            <a:p>
              <a:pPr lvl="0" algn="l" defTabSz="1066800" rtl="0">
                <a:lnSpc>
                  <a:spcPct val="90000"/>
                </a:lnSpc>
                <a:spcBef>
                  <a:spcPct val="0"/>
                </a:spcBef>
                <a:spcAft>
                  <a:spcPct val="35000"/>
                </a:spcAft>
              </a:pPr>
              <a:r>
                <a:rPr lang="en-GB" sz="2400" b="0" i="0" kern="1200" baseline="0" smtClean="0">
                  <a:latin typeface="Gill Sans MT" pitchFamily="34" charset="0"/>
                </a:rPr>
                <a:t>Phase one of the project runs until October 2014.</a:t>
              </a:r>
              <a:endParaRPr lang="en-GB" sz="2400" kern="1200" dirty="0">
                <a:latin typeface="Gill Sans MT" pitchFamily="34" charset="0"/>
              </a:endParaRPr>
            </a:p>
          </p:txBody>
        </p:sp>
      </p:grpSp>
      <p:sp>
        <p:nvSpPr>
          <p:cNvPr id="7" name="Title 1"/>
          <p:cNvSpPr txBox="1">
            <a:spLocks/>
          </p:cNvSpPr>
          <p:nvPr>
            <p:custDataLst>
              <p:tags r:id="rId1"/>
            </p:custDataLst>
          </p:nvPr>
        </p:nvSpPr>
        <p:spPr bwMode="auto">
          <a:xfrm>
            <a:off x="381000" y="0"/>
            <a:ext cx="9067800" cy="1671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6350" lvl="0" eaLnBrk="0" hangingPunct="0"/>
            <a:r>
              <a:rPr lang="en-IN" sz="3600" dirty="0" smtClean="0">
                <a:latin typeface="Gill Sans MT" pitchFamily="34" charset="0"/>
                <a:ea typeface="+mj-ea"/>
                <a:cs typeface="+mj-cs"/>
              </a:rPr>
              <a:t>Voice 21: an overview</a:t>
            </a:r>
            <a:endParaRPr kumimoji="0" lang="en-IN" sz="3600" i="0" u="none" strike="noStrike" kern="1200" cap="none" spc="0" normalizeH="0" baseline="0" noProof="0" dirty="0">
              <a:ln>
                <a:noFill/>
              </a:ln>
              <a:effectLst/>
              <a:uLnTx/>
              <a:uFillTx/>
              <a:latin typeface="Gill Sans MT" pitchFamily="34" charset="0"/>
              <a:ea typeface="+mj-ea"/>
              <a:cs typeface="+mj-cs"/>
            </a:endParaRPr>
          </a:p>
        </p:txBody>
      </p:sp>
    </p:spTree>
    <p:extLst>
      <p:ext uri="{BB962C8B-B14F-4D97-AF65-F5344CB8AC3E}">
        <p14:creationId xmlns:p14="http://schemas.microsoft.com/office/powerpoint/2010/main" val="13789244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a:xfrm>
            <a:off x="107504" y="44624"/>
            <a:ext cx="8589818" cy="1671638"/>
          </a:xfrm>
          <a:noFill/>
          <a:ln w="9525">
            <a:noFill/>
            <a:miter lim="800000"/>
            <a:headEnd/>
            <a:tailEnd/>
          </a:ln>
        </p:spPr>
        <p:txBody>
          <a:bodyPr vert="horz" wrap="square" lIns="91440" tIns="45720" rIns="91440" bIns="45720" numCol="1" anchor="t" anchorCtr="0" compatLnSpc="1">
            <a:prstTxWarp prst="textNoShape">
              <a:avLst/>
            </a:prstTxWarp>
            <a:normAutofit/>
          </a:bodyPr>
          <a:lstStyle/>
          <a:p>
            <a:pPr marL="6350" algn="l"/>
            <a:r>
              <a:rPr lang="en-IN" sz="2800" dirty="0" smtClean="0">
                <a:solidFill>
                  <a:schemeClr val="tx1"/>
                </a:solidFill>
                <a:latin typeface="Gill Sans MT" pitchFamily="34" charset="0"/>
              </a:rPr>
              <a:t>Voice 21 is a joint project between School 21, Cambridge University and the Education Endowment Foundation</a:t>
            </a:r>
            <a:endParaRPr lang="en-IN" sz="2800" dirty="0">
              <a:solidFill>
                <a:schemeClr val="tx1"/>
              </a:solidFill>
              <a:latin typeface="Gill Sans MT" pitchFamily="34" charset="0"/>
            </a:endParaRPr>
          </a:p>
        </p:txBody>
      </p:sp>
      <p:graphicFrame>
        <p:nvGraphicFramePr>
          <p:cNvPr id="4" name="Diagram 3"/>
          <p:cNvGraphicFramePr/>
          <p:nvPr>
            <p:extLst>
              <p:ext uri="{D42A27DB-BD31-4B8C-83A1-F6EECF244321}">
                <p14:modId xmlns:p14="http://schemas.microsoft.com/office/powerpoint/2010/main" val="3357427411"/>
              </p:ext>
            </p:extLst>
          </p:nvPr>
        </p:nvGraphicFramePr>
        <p:xfrm>
          <a:off x="2502833" y="1008995"/>
          <a:ext cx="6605671" cy="584900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7504" y="1600200"/>
            <a:ext cx="2304256" cy="751230"/>
          </a:xfrm>
          <a:prstGeom prst="rect">
            <a:avLst/>
          </a:prstGeom>
        </p:spPr>
      </p:pic>
      <p:pic>
        <p:nvPicPr>
          <p:cNvPr id="6" name="Picture 5"/>
          <p:cNvPicPr>
            <a:picLocks noChangeAspect="1"/>
          </p:cNvPicPr>
          <p:nvPr/>
        </p:nvPicPr>
        <p:blipFill rotWithShape="1">
          <a:blip r:embed="rId12" cstate="print">
            <a:extLst>
              <a:ext uri="{28A0092B-C50C-407E-A947-70E740481C1C}">
                <a14:useLocalDpi xmlns:a14="http://schemas.microsoft.com/office/drawing/2010/main" val="0"/>
              </a:ext>
            </a:extLst>
          </a:blip>
          <a:srcRect l="4521" r="7308"/>
          <a:stretch/>
        </p:blipFill>
        <p:spPr>
          <a:xfrm>
            <a:off x="91232" y="3389235"/>
            <a:ext cx="2336800" cy="649365"/>
          </a:xfrm>
          <a:prstGeom prst="rect">
            <a:avLst/>
          </a:prstGeom>
        </p:spPr>
      </p:pic>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21485" y="5181600"/>
            <a:ext cx="2232248" cy="783736"/>
          </a:xfrm>
          <a:prstGeom prst="rect">
            <a:avLst/>
          </a:prstGeom>
          <a:ln>
            <a:solidFill>
              <a:schemeClr val="tx1"/>
            </a:solidFill>
          </a:ln>
        </p:spPr>
      </p:pic>
    </p:spTree>
    <p:extLst>
      <p:ext uri="{BB962C8B-B14F-4D97-AF65-F5344CB8AC3E}">
        <p14:creationId xmlns:p14="http://schemas.microsoft.com/office/powerpoint/2010/main" val="11673174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a:xfrm>
            <a:off x="0" y="0"/>
            <a:ext cx="8953500" cy="985838"/>
          </a:xfrm>
          <a:noFill/>
          <a:ln w="9525">
            <a:noFill/>
            <a:miter lim="800000"/>
            <a:headEnd/>
            <a:tailEnd/>
          </a:ln>
        </p:spPr>
        <p:txBody>
          <a:bodyPr vert="horz" wrap="square" lIns="91440" tIns="45720" rIns="91440" bIns="45720" numCol="1" anchor="t" anchorCtr="0" compatLnSpc="1">
            <a:prstTxWarp prst="textNoShape">
              <a:avLst/>
            </a:prstTxWarp>
            <a:noAutofit/>
          </a:bodyPr>
          <a:lstStyle/>
          <a:p>
            <a:pPr marL="6350" algn="l"/>
            <a:r>
              <a:rPr lang="en-IN" sz="3200" dirty="0" smtClean="0">
                <a:solidFill>
                  <a:schemeClr val="tx1"/>
                </a:solidFill>
                <a:latin typeface="Gill Sans MT" pitchFamily="34" charset="0"/>
              </a:rPr>
              <a:t>Oracy </a:t>
            </a:r>
            <a:r>
              <a:rPr lang="en-IN" sz="3200" dirty="0" smtClean="0">
                <a:latin typeface="Gill Sans MT" pitchFamily="34" charset="0"/>
              </a:rPr>
              <a:t>is an essential skill which children </a:t>
            </a:r>
            <a:r>
              <a:rPr lang="en-IN" sz="3200" dirty="0" smtClean="0">
                <a:solidFill>
                  <a:schemeClr val="tx1"/>
                </a:solidFill>
                <a:latin typeface="Gill Sans MT" pitchFamily="34" charset="0"/>
              </a:rPr>
              <a:t>require in a range of contexts, today and in the future</a:t>
            </a:r>
            <a:endParaRPr lang="en-IN" sz="3200" dirty="0">
              <a:solidFill>
                <a:schemeClr val="tx1"/>
              </a:solidFill>
              <a:latin typeface="Gill Sans MT" pitchFamily="34" charset="0"/>
            </a:endParaRPr>
          </a:p>
        </p:txBody>
      </p:sp>
      <p:sp>
        <p:nvSpPr>
          <p:cNvPr id="8" name="Shape 47"/>
          <p:cNvSpPr txBox="1"/>
          <p:nvPr/>
        </p:nvSpPr>
        <p:spPr>
          <a:xfrm>
            <a:off x="99650" y="1061864"/>
            <a:ext cx="8853850" cy="1143000"/>
          </a:xfrm>
          <a:prstGeom prst="rect">
            <a:avLst/>
          </a:prstGeom>
          <a:noFill/>
        </p:spPr>
        <p:txBody>
          <a:bodyPr lIns="91425" tIns="91425" rIns="91425" bIns="91425" anchor="t" anchorCtr="0">
            <a:noAutofit/>
          </a:bodyPr>
          <a:lstStyle/>
          <a:p>
            <a:pPr algn="just">
              <a:buNone/>
            </a:pPr>
            <a:r>
              <a:rPr lang="en-GB" dirty="0">
                <a:latin typeface="Gill Sans MT" pitchFamily="34" charset="0"/>
              </a:rPr>
              <a:t>Good spoken communication is of paramount importance throughout life, is an essential tool in the workplace and a powerful driver of social mobility. Nevertheless, it is possible to pass through UK education (from primary to higher) without receiving any instruction or assistance in developing the skills it requires. </a:t>
            </a:r>
          </a:p>
        </p:txBody>
      </p:sp>
      <p:grpSp>
        <p:nvGrpSpPr>
          <p:cNvPr id="5" name="Group 4"/>
          <p:cNvGrpSpPr/>
          <p:nvPr/>
        </p:nvGrpSpPr>
        <p:grpSpPr>
          <a:xfrm>
            <a:off x="152400" y="2370777"/>
            <a:ext cx="8648700" cy="4411024"/>
            <a:chOff x="38100" y="2644349"/>
            <a:chExt cx="7962900" cy="4061251"/>
          </a:xfrm>
        </p:grpSpPr>
        <p:sp>
          <p:nvSpPr>
            <p:cNvPr id="10" name="Rectangle 9"/>
            <p:cNvSpPr/>
            <p:nvPr/>
          </p:nvSpPr>
          <p:spPr>
            <a:xfrm>
              <a:off x="165970" y="3763550"/>
              <a:ext cx="1482276" cy="20589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smtClean="0">
                  <a:solidFill>
                    <a:schemeClr val="tx1"/>
                  </a:solidFill>
                  <a:latin typeface="+mj-lt"/>
                </a:rPr>
                <a:t>In life</a:t>
              </a:r>
            </a:p>
          </p:txBody>
        </p:sp>
        <p:sp>
          <p:nvSpPr>
            <p:cNvPr id="11" name="Rectangle 10"/>
            <p:cNvSpPr/>
            <p:nvPr/>
          </p:nvSpPr>
          <p:spPr>
            <a:xfrm>
              <a:off x="165970" y="3202315"/>
              <a:ext cx="1482276" cy="20589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smtClean="0">
                  <a:latin typeface="+mj-lt"/>
                </a:rPr>
                <a:t>In work </a:t>
              </a:r>
              <a:endParaRPr lang="en-GB" sz="1200" dirty="0">
                <a:latin typeface="+mj-lt"/>
              </a:endParaRPr>
            </a:p>
          </p:txBody>
        </p:sp>
        <p:sp>
          <p:nvSpPr>
            <p:cNvPr id="12" name="Rectangle 11"/>
            <p:cNvSpPr/>
            <p:nvPr/>
          </p:nvSpPr>
          <p:spPr>
            <a:xfrm>
              <a:off x="165970" y="3478891"/>
              <a:ext cx="1482276" cy="20589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smtClean="0">
                  <a:latin typeface="+mj-lt"/>
                </a:rPr>
                <a:t>In education</a:t>
              </a:r>
            </a:p>
          </p:txBody>
        </p:sp>
        <p:grpSp>
          <p:nvGrpSpPr>
            <p:cNvPr id="3" name="Shape 48"/>
            <p:cNvGrpSpPr/>
            <p:nvPr/>
          </p:nvGrpSpPr>
          <p:grpSpPr>
            <a:xfrm>
              <a:off x="38100" y="2644349"/>
              <a:ext cx="7962900" cy="4061251"/>
              <a:chOff x="601675" y="2699399"/>
              <a:chExt cx="7349819" cy="4061251"/>
            </a:xfrm>
          </p:grpSpPr>
          <p:cxnSp>
            <p:nvCxnSpPr>
              <p:cNvPr id="14" name="Shape 49"/>
              <p:cNvCxnSpPr/>
              <p:nvPr/>
            </p:nvCxnSpPr>
            <p:spPr>
              <a:xfrm>
                <a:off x="601675" y="6309375"/>
                <a:ext cx="7349819" cy="0"/>
              </a:xfrm>
              <a:prstGeom prst="straightConnector1">
                <a:avLst/>
              </a:prstGeom>
              <a:noFill/>
              <a:ln w="19050" cap="flat">
                <a:solidFill>
                  <a:schemeClr val="dk2"/>
                </a:solidFill>
                <a:prstDash val="solid"/>
                <a:round/>
                <a:headEnd type="none" w="lg" len="lg"/>
                <a:tailEnd type="triangle" w="lg" len="lg"/>
              </a:ln>
            </p:spPr>
          </p:cxnSp>
          <p:sp>
            <p:nvSpPr>
              <p:cNvPr id="15" name="Shape 50"/>
              <p:cNvSpPr txBox="1"/>
              <p:nvPr/>
            </p:nvSpPr>
            <p:spPr>
              <a:xfrm>
                <a:off x="719700" y="4743307"/>
                <a:ext cx="2230199" cy="638399"/>
              </a:xfrm>
              <a:prstGeom prst="rect">
                <a:avLst/>
              </a:prstGeom>
              <a:solidFill>
                <a:schemeClr val="accent4">
                  <a:lumMod val="75000"/>
                </a:schemeClr>
              </a:solidFill>
            </p:spPr>
            <p:txBody>
              <a:bodyPr lIns="91425" tIns="91425" rIns="91425" bIns="91425" anchor="t" anchorCtr="0">
                <a:noAutofit/>
              </a:bodyPr>
              <a:lstStyle/>
              <a:p>
                <a:pPr lvl="0" rtl="0">
                  <a:buNone/>
                </a:pPr>
                <a:r>
                  <a:rPr lang="en-GB" sz="1600" dirty="0">
                    <a:solidFill>
                      <a:srgbClr val="FFFFFF"/>
                    </a:solidFill>
                    <a:latin typeface="+mj-lt"/>
                  </a:rPr>
                  <a:t>Talk to the teacher</a:t>
                </a:r>
              </a:p>
              <a:p>
                <a:pPr>
                  <a:buNone/>
                </a:pPr>
                <a:r>
                  <a:rPr lang="en-GB" sz="1600" dirty="0">
                    <a:solidFill>
                      <a:srgbClr val="FFFFFF"/>
                    </a:solidFill>
                    <a:latin typeface="+mj-lt"/>
                  </a:rPr>
                  <a:t>Work in pairs</a:t>
                </a:r>
              </a:p>
            </p:txBody>
          </p:sp>
          <p:sp>
            <p:nvSpPr>
              <p:cNvPr id="16" name="Shape 51"/>
              <p:cNvSpPr txBox="1"/>
              <p:nvPr/>
            </p:nvSpPr>
            <p:spPr>
              <a:xfrm>
                <a:off x="719700" y="5384775"/>
                <a:ext cx="2230199" cy="848399"/>
              </a:xfrm>
              <a:prstGeom prst="rect">
                <a:avLst/>
              </a:prstGeom>
              <a:solidFill>
                <a:schemeClr val="accent4">
                  <a:lumMod val="60000"/>
                  <a:lumOff val="40000"/>
                </a:schemeClr>
              </a:solidFill>
            </p:spPr>
            <p:txBody>
              <a:bodyPr lIns="91425" tIns="91425" rIns="91425" bIns="91425" anchor="t" anchorCtr="0">
                <a:noAutofit/>
              </a:bodyPr>
              <a:lstStyle/>
              <a:p>
                <a:pPr lvl="0" rtl="0">
                  <a:buNone/>
                </a:pPr>
                <a:r>
                  <a:rPr lang="en-GB" sz="1600">
                    <a:latin typeface="+mj-lt"/>
                  </a:rPr>
                  <a:t>Make friends</a:t>
                </a:r>
              </a:p>
              <a:p>
                <a:pPr lvl="0" rtl="0">
                  <a:buNone/>
                </a:pPr>
                <a:r>
                  <a:rPr lang="en-GB" sz="1600">
                    <a:latin typeface="+mj-lt"/>
                  </a:rPr>
                  <a:t>Play games</a:t>
                </a:r>
              </a:p>
              <a:p>
                <a:pPr>
                  <a:buNone/>
                </a:pPr>
                <a:r>
                  <a:rPr lang="en-GB" sz="1600">
                    <a:latin typeface="+mj-lt"/>
                  </a:rPr>
                  <a:t>Talk to parents</a:t>
                </a:r>
              </a:p>
            </p:txBody>
          </p:sp>
          <p:sp>
            <p:nvSpPr>
              <p:cNvPr id="17" name="Shape 52"/>
              <p:cNvSpPr txBox="1"/>
              <p:nvPr/>
            </p:nvSpPr>
            <p:spPr>
              <a:xfrm>
                <a:off x="3094950" y="5189400"/>
                <a:ext cx="2230199" cy="1043700"/>
              </a:xfrm>
              <a:prstGeom prst="rect">
                <a:avLst/>
              </a:prstGeom>
              <a:solidFill>
                <a:schemeClr val="accent4">
                  <a:lumMod val="60000"/>
                  <a:lumOff val="40000"/>
                </a:schemeClr>
              </a:solidFill>
            </p:spPr>
            <p:txBody>
              <a:bodyPr lIns="91425" tIns="91425" rIns="91425" bIns="91425" anchor="t" anchorCtr="0">
                <a:noAutofit/>
              </a:bodyPr>
              <a:lstStyle/>
              <a:p>
                <a:pPr lvl="0" rtl="0">
                  <a:buNone/>
                </a:pPr>
                <a:r>
                  <a:rPr lang="en-GB" sz="1600" dirty="0" smtClean="0">
                    <a:latin typeface="+mj-lt"/>
                  </a:rPr>
                  <a:t>Adopt/adapt/resist </a:t>
                </a:r>
                <a:r>
                  <a:rPr lang="en-GB" sz="1600" dirty="0">
                    <a:latin typeface="+mj-lt"/>
                  </a:rPr>
                  <a:t>norms of peer-group</a:t>
                </a:r>
              </a:p>
              <a:p>
                <a:pPr lvl="0" rtl="0">
                  <a:buNone/>
                </a:pPr>
                <a:r>
                  <a:rPr lang="en-GB" sz="1600" dirty="0">
                    <a:latin typeface="+mj-lt"/>
                  </a:rPr>
                  <a:t>Engage with a wider group of adults</a:t>
                </a:r>
              </a:p>
            </p:txBody>
          </p:sp>
          <p:sp>
            <p:nvSpPr>
              <p:cNvPr id="18" name="Shape 53"/>
              <p:cNvSpPr txBox="1"/>
              <p:nvPr/>
            </p:nvSpPr>
            <p:spPr>
              <a:xfrm>
                <a:off x="3094950" y="3966130"/>
                <a:ext cx="2230199" cy="1223399"/>
              </a:xfrm>
              <a:prstGeom prst="rect">
                <a:avLst/>
              </a:prstGeom>
              <a:solidFill>
                <a:schemeClr val="accent4">
                  <a:lumMod val="75000"/>
                </a:schemeClr>
              </a:solidFill>
            </p:spPr>
            <p:txBody>
              <a:bodyPr lIns="91425" tIns="91425" rIns="91425" bIns="91425" anchor="t" anchorCtr="0">
                <a:noAutofit/>
              </a:bodyPr>
              <a:lstStyle/>
              <a:p>
                <a:pPr lvl="0" rtl="0">
                  <a:buNone/>
                </a:pPr>
                <a:r>
                  <a:rPr lang="en-GB" sz="1600" dirty="0">
                    <a:solidFill>
                      <a:srgbClr val="FFFFFF"/>
                    </a:solidFill>
                    <a:latin typeface="+mj-lt"/>
                  </a:rPr>
                  <a:t>Work in a group</a:t>
                </a:r>
              </a:p>
              <a:p>
                <a:pPr lvl="0" rtl="0">
                  <a:buNone/>
                </a:pPr>
                <a:r>
                  <a:rPr lang="en-GB" sz="1600" dirty="0">
                    <a:solidFill>
                      <a:srgbClr val="FFFFFF"/>
                    </a:solidFill>
                    <a:latin typeface="+mj-lt"/>
                  </a:rPr>
                  <a:t>Discuss/debate</a:t>
                </a:r>
              </a:p>
              <a:p>
                <a:pPr lvl="0" rtl="0">
                  <a:buNone/>
                </a:pPr>
                <a:r>
                  <a:rPr lang="en-GB" sz="1600" dirty="0">
                    <a:solidFill>
                      <a:srgbClr val="FFFFFF"/>
                    </a:solidFill>
                    <a:latin typeface="+mj-lt"/>
                  </a:rPr>
                  <a:t>Act</a:t>
                </a:r>
              </a:p>
              <a:p>
                <a:pPr lvl="0" rtl="0">
                  <a:buNone/>
                </a:pPr>
                <a:r>
                  <a:rPr lang="en-GB" sz="1600" dirty="0">
                    <a:solidFill>
                      <a:srgbClr val="FFFFFF"/>
                    </a:solidFill>
                    <a:latin typeface="+mj-lt"/>
                  </a:rPr>
                  <a:t>Answer difficult questions</a:t>
                </a:r>
              </a:p>
            </p:txBody>
          </p:sp>
          <p:sp>
            <p:nvSpPr>
              <p:cNvPr id="19" name="Shape 54"/>
              <p:cNvSpPr txBox="1"/>
              <p:nvPr/>
            </p:nvSpPr>
            <p:spPr>
              <a:xfrm>
                <a:off x="5457150" y="5189400"/>
                <a:ext cx="2230199" cy="1043700"/>
              </a:xfrm>
              <a:prstGeom prst="rect">
                <a:avLst/>
              </a:prstGeom>
              <a:solidFill>
                <a:schemeClr val="accent4">
                  <a:lumMod val="60000"/>
                  <a:lumOff val="40000"/>
                </a:schemeClr>
              </a:solidFill>
            </p:spPr>
            <p:txBody>
              <a:bodyPr lIns="91425" tIns="91425" rIns="91425" bIns="91425" anchor="t" anchorCtr="0">
                <a:noAutofit/>
              </a:bodyPr>
              <a:lstStyle/>
              <a:p>
                <a:pPr lvl="0" rtl="0">
                  <a:buNone/>
                </a:pPr>
                <a:r>
                  <a:rPr lang="en-GB" sz="1600">
                    <a:latin typeface="+mj-lt"/>
                  </a:rPr>
                  <a:t>Assert yourself</a:t>
                </a:r>
              </a:p>
              <a:p>
                <a:pPr lvl="0" rtl="0">
                  <a:buNone/>
                </a:pPr>
                <a:r>
                  <a:rPr lang="en-GB" sz="1600">
                    <a:latin typeface="+mj-lt"/>
                  </a:rPr>
                  <a:t>Find your voice</a:t>
                </a:r>
              </a:p>
              <a:p>
                <a:pPr lvl="0" rtl="0">
                  <a:buNone/>
                </a:pPr>
                <a:r>
                  <a:rPr lang="en-GB" sz="1600">
                    <a:latin typeface="+mj-lt"/>
                  </a:rPr>
                  <a:t>Tell people how you feel</a:t>
                </a:r>
              </a:p>
              <a:p>
                <a:pPr lvl="0" rtl="0">
                  <a:buNone/>
                </a:pPr>
                <a:r>
                  <a:rPr lang="en-GB" sz="1600">
                    <a:latin typeface="+mj-lt"/>
                  </a:rPr>
                  <a:t>Break news</a:t>
                </a:r>
              </a:p>
            </p:txBody>
          </p:sp>
          <p:sp>
            <p:nvSpPr>
              <p:cNvPr id="20" name="Shape 55"/>
              <p:cNvSpPr txBox="1"/>
              <p:nvPr/>
            </p:nvSpPr>
            <p:spPr>
              <a:xfrm>
                <a:off x="5457150" y="3749618"/>
                <a:ext cx="2230199" cy="1439700"/>
              </a:xfrm>
              <a:prstGeom prst="rect">
                <a:avLst/>
              </a:prstGeom>
              <a:solidFill>
                <a:schemeClr val="accent4">
                  <a:lumMod val="75000"/>
                </a:schemeClr>
              </a:solidFill>
            </p:spPr>
            <p:txBody>
              <a:bodyPr lIns="91425" tIns="91425" rIns="91425" bIns="91425" anchor="t" anchorCtr="0">
                <a:noAutofit/>
              </a:bodyPr>
              <a:lstStyle/>
              <a:p>
                <a:pPr lvl="0" rtl="0">
                  <a:buNone/>
                </a:pPr>
                <a:r>
                  <a:rPr lang="en-GB" sz="1600">
                    <a:solidFill>
                      <a:srgbClr val="FFFFFF"/>
                    </a:solidFill>
                    <a:latin typeface="+mj-lt"/>
                  </a:rPr>
                  <a:t>Explain and defend your own ideas to peers and to teachers</a:t>
                </a:r>
              </a:p>
              <a:p>
                <a:pPr lvl="0" rtl="0">
                  <a:buNone/>
                </a:pPr>
                <a:r>
                  <a:rPr lang="en-GB" sz="1600">
                    <a:solidFill>
                      <a:srgbClr val="FFFFFF"/>
                    </a:solidFill>
                    <a:latin typeface="+mj-lt"/>
                  </a:rPr>
                  <a:t>Direct a play</a:t>
                </a:r>
              </a:p>
              <a:p>
                <a:pPr lvl="0" rtl="0">
                  <a:buNone/>
                </a:pPr>
                <a:r>
                  <a:rPr lang="en-GB" sz="1600">
                    <a:solidFill>
                      <a:srgbClr val="FFFFFF"/>
                    </a:solidFill>
                    <a:latin typeface="+mj-lt"/>
                  </a:rPr>
                  <a:t>Take part in societies, student unions, etc.</a:t>
                </a:r>
              </a:p>
            </p:txBody>
          </p:sp>
          <p:sp>
            <p:nvSpPr>
              <p:cNvPr id="21" name="Shape 56"/>
              <p:cNvSpPr txBox="1"/>
              <p:nvPr/>
            </p:nvSpPr>
            <p:spPr>
              <a:xfrm>
                <a:off x="5457150" y="2754750"/>
                <a:ext cx="2230199" cy="1043700"/>
              </a:xfrm>
              <a:prstGeom prst="rect">
                <a:avLst/>
              </a:prstGeom>
              <a:solidFill>
                <a:srgbClr val="002060"/>
              </a:solidFill>
            </p:spPr>
            <p:txBody>
              <a:bodyPr lIns="91425" tIns="91425" rIns="91425" bIns="91425" anchor="t" anchorCtr="0">
                <a:noAutofit/>
              </a:bodyPr>
              <a:lstStyle/>
              <a:p>
                <a:pPr lvl="0" rtl="0">
                  <a:buNone/>
                </a:pPr>
                <a:r>
                  <a:rPr lang="en-GB" sz="1600">
                    <a:solidFill>
                      <a:srgbClr val="FFFFFF"/>
                    </a:solidFill>
                    <a:latin typeface="+mj-lt"/>
                  </a:rPr>
                  <a:t>Go for an interview</a:t>
                </a:r>
              </a:p>
              <a:p>
                <a:pPr lvl="0" rtl="0">
                  <a:buNone/>
                </a:pPr>
                <a:r>
                  <a:rPr lang="en-GB" sz="1600">
                    <a:solidFill>
                      <a:srgbClr val="FFFFFF"/>
                    </a:solidFill>
                    <a:latin typeface="+mj-lt"/>
                  </a:rPr>
                  <a:t>Work as a team</a:t>
                </a:r>
              </a:p>
              <a:p>
                <a:pPr lvl="0" rtl="0">
                  <a:buNone/>
                </a:pPr>
                <a:r>
                  <a:rPr lang="en-GB" sz="1600">
                    <a:solidFill>
                      <a:srgbClr val="FFFFFF"/>
                    </a:solidFill>
                    <a:latin typeface="+mj-lt"/>
                  </a:rPr>
                  <a:t>Speak to customers</a:t>
                </a:r>
              </a:p>
              <a:p>
                <a:pPr lvl="0" rtl="0">
                  <a:buNone/>
                </a:pPr>
                <a:r>
                  <a:rPr lang="en-GB" sz="1600">
                    <a:solidFill>
                      <a:srgbClr val="FFFFFF"/>
                    </a:solidFill>
                    <a:latin typeface="+mj-lt"/>
                  </a:rPr>
                  <a:t>Manage others</a:t>
                </a:r>
              </a:p>
            </p:txBody>
          </p:sp>
          <p:sp>
            <p:nvSpPr>
              <p:cNvPr id="23" name="Shape 57"/>
              <p:cNvSpPr txBox="1"/>
              <p:nvPr/>
            </p:nvSpPr>
            <p:spPr>
              <a:xfrm>
                <a:off x="1315200" y="6385575"/>
                <a:ext cx="1039199" cy="375000"/>
              </a:xfrm>
              <a:prstGeom prst="rect">
                <a:avLst/>
              </a:prstGeom>
              <a:noFill/>
            </p:spPr>
            <p:txBody>
              <a:bodyPr lIns="91425" tIns="91425" rIns="91425" bIns="91425" anchor="t" anchorCtr="0">
                <a:noAutofit/>
              </a:bodyPr>
              <a:lstStyle/>
              <a:p>
                <a:pPr>
                  <a:buNone/>
                </a:pPr>
                <a:r>
                  <a:rPr lang="en-GB" sz="1600" b="1" dirty="0">
                    <a:latin typeface="+mj-lt"/>
                  </a:rPr>
                  <a:t>Age 4</a:t>
                </a:r>
              </a:p>
            </p:txBody>
          </p:sp>
          <p:sp>
            <p:nvSpPr>
              <p:cNvPr id="24" name="Shape 58"/>
              <p:cNvSpPr txBox="1"/>
              <p:nvPr/>
            </p:nvSpPr>
            <p:spPr>
              <a:xfrm>
                <a:off x="3534000" y="6385650"/>
                <a:ext cx="1039199" cy="375000"/>
              </a:xfrm>
              <a:prstGeom prst="rect">
                <a:avLst/>
              </a:prstGeom>
              <a:noFill/>
            </p:spPr>
            <p:txBody>
              <a:bodyPr lIns="91425" tIns="91425" rIns="91425" bIns="91425" anchor="t" anchorCtr="0">
                <a:noAutofit/>
              </a:bodyPr>
              <a:lstStyle/>
              <a:p>
                <a:pPr lvl="0" rtl="0">
                  <a:buNone/>
                </a:pPr>
                <a:r>
                  <a:rPr lang="en-GB" sz="1600" b="1">
                    <a:latin typeface="+mj-lt"/>
                  </a:rPr>
                  <a:t>Age 11</a:t>
                </a:r>
              </a:p>
            </p:txBody>
          </p:sp>
          <p:sp>
            <p:nvSpPr>
              <p:cNvPr id="25" name="Shape 59"/>
              <p:cNvSpPr txBox="1"/>
              <p:nvPr/>
            </p:nvSpPr>
            <p:spPr>
              <a:xfrm>
                <a:off x="5752800" y="6385650"/>
                <a:ext cx="1039199" cy="375000"/>
              </a:xfrm>
              <a:prstGeom prst="rect">
                <a:avLst/>
              </a:prstGeom>
              <a:noFill/>
            </p:spPr>
            <p:txBody>
              <a:bodyPr lIns="91425" tIns="91425" rIns="91425" bIns="91425" anchor="t" anchorCtr="0">
                <a:noAutofit/>
              </a:bodyPr>
              <a:lstStyle/>
              <a:p>
                <a:pPr lvl="0" rtl="0">
                  <a:buNone/>
                </a:pPr>
                <a:r>
                  <a:rPr lang="en-GB" sz="1600" b="1">
                    <a:latin typeface="+mj-lt"/>
                  </a:rPr>
                  <a:t>Age 18</a:t>
                </a:r>
              </a:p>
            </p:txBody>
          </p:sp>
          <p:sp>
            <p:nvSpPr>
              <p:cNvPr id="26" name="Shape 60"/>
              <p:cNvSpPr txBox="1"/>
              <p:nvPr/>
            </p:nvSpPr>
            <p:spPr>
              <a:xfrm>
                <a:off x="683569" y="2699399"/>
                <a:ext cx="1404285" cy="457200"/>
              </a:xfrm>
              <a:prstGeom prst="rect">
                <a:avLst/>
              </a:prstGeom>
              <a:noFill/>
            </p:spPr>
            <p:txBody>
              <a:bodyPr lIns="91425" tIns="91425" rIns="91425" bIns="91425" anchor="t" anchorCtr="0">
                <a:noAutofit/>
              </a:bodyPr>
              <a:lstStyle/>
              <a:p>
                <a:pPr lvl="0" rtl="0">
                  <a:buNone/>
                </a:pPr>
                <a:r>
                  <a:rPr lang="en-GB" sz="1200" dirty="0">
                    <a:latin typeface="+mj-lt"/>
                  </a:rPr>
                  <a:t>Illustrative examples of the need for </a:t>
                </a:r>
                <a:r>
                  <a:rPr lang="en-GB" sz="1200" dirty="0" smtClean="0">
                    <a:latin typeface="+mj-lt"/>
                  </a:rPr>
                  <a:t>oracy</a:t>
                </a:r>
                <a:r>
                  <a:rPr lang="en-GB" sz="1200" dirty="0">
                    <a:latin typeface="+mj-lt"/>
                  </a:rPr>
                  <a:t>:</a:t>
                </a:r>
                <a:endParaRPr lang="en-GB" sz="1600" dirty="0" smtClean="0">
                  <a:latin typeface="+mj-lt"/>
                </a:endParaRPr>
              </a:p>
            </p:txBody>
          </p:sp>
        </p:grpSp>
      </p:grpSp>
    </p:spTree>
    <p:extLst>
      <p:ext uri="{BB962C8B-B14F-4D97-AF65-F5344CB8AC3E}">
        <p14:creationId xmlns:p14="http://schemas.microsoft.com/office/powerpoint/2010/main" val="1950410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a:xfrm>
            <a:off x="76200" y="0"/>
            <a:ext cx="9067800" cy="985838"/>
          </a:xfrm>
          <a:noFill/>
          <a:ln w="9525">
            <a:noFill/>
            <a:miter lim="800000"/>
            <a:headEnd/>
            <a:tailEnd/>
          </a:ln>
        </p:spPr>
        <p:txBody>
          <a:bodyPr vert="horz" wrap="square" lIns="91440" tIns="45720" rIns="91440" bIns="45720" numCol="1" anchor="t" anchorCtr="0" compatLnSpc="1">
            <a:prstTxWarp prst="textNoShape">
              <a:avLst/>
            </a:prstTxWarp>
            <a:noAutofit/>
          </a:bodyPr>
          <a:lstStyle/>
          <a:p>
            <a:pPr marL="6350" algn="l"/>
            <a:r>
              <a:rPr lang="en-IN" sz="3200" dirty="0" smtClean="0">
                <a:solidFill>
                  <a:schemeClr val="tx1"/>
                </a:solidFill>
                <a:latin typeface="Gill Sans MT" pitchFamily="34" charset="0"/>
              </a:rPr>
              <a:t>The project will develop an oracy curriculum, culture and </a:t>
            </a:r>
            <a:r>
              <a:rPr lang="en-IN" sz="3200" dirty="0" smtClean="0">
                <a:latin typeface="Gill Sans MT" pitchFamily="34" charset="0"/>
              </a:rPr>
              <a:t>assessment for use in schools</a:t>
            </a:r>
            <a:endParaRPr lang="en-IN" sz="3200" dirty="0">
              <a:solidFill>
                <a:schemeClr val="tx1"/>
              </a:solidFill>
              <a:latin typeface="Gill Sans MT" pitchFamily="34" charset="0"/>
            </a:endParaRPr>
          </a:p>
        </p:txBody>
      </p:sp>
      <p:sp>
        <p:nvSpPr>
          <p:cNvPr id="21" name="Freeform 20"/>
          <p:cNvSpPr/>
          <p:nvPr/>
        </p:nvSpPr>
        <p:spPr>
          <a:xfrm>
            <a:off x="166915" y="1345827"/>
            <a:ext cx="1904999" cy="1600200"/>
          </a:xfrm>
          <a:custGeom>
            <a:avLst/>
            <a:gdLst>
              <a:gd name="connsiteX0" fmla="*/ 0 w 1979018"/>
              <a:gd name="connsiteY0" fmla="*/ 0 h 1187410"/>
              <a:gd name="connsiteX1" fmla="*/ 1979018 w 1979018"/>
              <a:gd name="connsiteY1" fmla="*/ 0 h 1187410"/>
              <a:gd name="connsiteX2" fmla="*/ 1979018 w 1979018"/>
              <a:gd name="connsiteY2" fmla="*/ 1187410 h 1187410"/>
              <a:gd name="connsiteX3" fmla="*/ 0 w 1979018"/>
              <a:gd name="connsiteY3" fmla="*/ 1187410 h 1187410"/>
              <a:gd name="connsiteX4" fmla="*/ 0 w 1979018"/>
              <a:gd name="connsiteY4" fmla="*/ 0 h 1187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9018" h="1187410">
                <a:moveTo>
                  <a:pt x="0" y="0"/>
                </a:moveTo>
                <a:lnTo>
                  <a:pt x="1979018" y="0"/>
                </a:lnTo>
                <a:lnTo>
                  <a:pt x="1979018" y="1187410"/>
                </a:lnTo>
                <a:lnTo>
                  <a:pt x="0" y="1187410"/>
                </a:lnTo>
                <a:lnTo>
                  <a:pt x="0" y="0"/>
                </a:lnTo>
                <a:close/>
              </a:path>
            </a:pathLst>
          </a:custGeom>
          <a:solidFill>
            <a:schemeClr val="accent4"/>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GB" sz="2400" b="0" i="0" kern="1200" baseline="0" dirty="0" smtClean="0">
                <a:latin typeface="+mj-lt"/>
              </a:rPr>
              <a:t>Curriculum</a:t>
            </a:r>
            <a:endParaRPr lang="en-GB" sz="2400" kern="1200" dirty="0">
              <a:latin typeface="+mj-lt"/>
            </a:endParaRPr>
          </a:p>
        </p:txBody>
      </p:sp>
      <p:sp>
        <p:nvSpPr>
          <p:cNvPr id="23" name="Freeform 22"/>
          <p:cNvSpPr/>
          <p:nvPr/>
        </p:nvSpPr>
        <p:spPr>
          <a:xfrm>
            <a:off x="159658" y="3149354"/>
            <a:ext cx="1904999" cy="1600200"/>
          </a:xfrm>
          <a:custGeom>
            <a:avLst/>
            <a:gdLst>
              <a:gd name="connsiteX0" fmla="*/ 0 w 1979018"/>
              <a:gd name="connsiteY0" fmla="*/ 0 h 1187410"/>
              <a:gd name="connsiteX1" fmla="*/ 1979018 w 1979018"/>
              <a:gd name="connsiteY1" fmla="*/ 0 h 1187410"/>
              <a:gd name="connsiteX2" fmla="*/ 1979018 w 1979018"/>
              <a:gd name="connsiteY2" fmla="*/ 1187410 h 1187410"/>
              <a:gd name="connsiteX3" fmla="*/ 0 w 1979018"/>
              <a:gd name="connsiteY3" fmla="*/ 1187410 h 1187410"/>
              <a:gd name="connsiteX4" fmla="*/ 0 w 1979018"/>
              <a:gd name="connsiteY4" fmla="*/ 0 h 1187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9018" h="1187410">
                <a:moveTo>
                  <a:pt x="0" y="0"/>
                </a:moveTo>
                <a:lnTo>
                  <a:pt x="1979018" y="0"/>
                </a:lnTo>
                <a:lnTo>
                  <a:pt x="1979018" y="1187410"/>
                </a:lnTo>
                <a:lnTo>
                  <a:pt x="0" y="1187410"/>
                </a:lnTo>
                <a:lnTo>
                  <a:pt x="0" y="0"/>
                </a:lnTo>
                <a:close/>
              </a:path>
            </a:pathLst>
          </a:custGeom>
          <a:solidFill>
            <a:schemeClr val="accent4"/>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GB" sz="2400" b="0" i="0" kern="1200" baseline="0" dirty="0" smtClean="0">
                <a:latin typeface="+mj-lt"/>
              </a:rPr>
              <a:t>Culture</a:t>
            </a:r>
            <a:endParaRPr lang="en-GB" sz="2400" kern="1200" dirty="0">
              <a:latin typeface="+mj-lt"/>
            </a:endParaRPr>
          </a:p>
        </p:txBody>
      </p:sp>
      <p:sp>
        <p:nvSpPr>
          <p:cNvPr id="24" name="Freeform 23"/>
          <p:cNvSpPr/>
          <p:nvPr/>
        </p:nvSpPr>
        <p:spPr>
          <a:xfrm>
            <a:off x="152401" y="4952881"/>
            <a:ext cx="1904999" cy="1600200"/>
          </a:xfrm>
          <a:custGeom>
            <a:avLst/>
            <a:gdLst>
              <a:gd name="connsiteX0" fmla="*/ 0 w 1979018"/>
              <a:gd name="connsiteY0" fmla="*/ 0 h 1187410"/>
              <a:gd name="connsiteX1" fmla="*/ 1979018 w 1979018"/>
              <a:gd name="connsiteY1" fmla="*/ 0 h 1187410"/>
              <a:gd name="connsiteX2" fmla="*/ 1979018 w 1979018"/>
              <a:gd name="connsiteY2" fmla="*/ 1187410 h 1187410"/>
              <a:gd name="connsiteX3" fmla="*/ 0 w 1979018"/>
              <a:gd name="connsiteY3" fmla="*/ 1187410 h 1187410"/>
              <a:gd name="connsiteX4" fmla="*/ 0 w 1979018"/>
              <a:gd name="connsiteY4" fmla="*/ 0 h 1187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9018" h="1187410">
                <a:moveTo>
                  <a:pt x="0" y="0"/>
                </a:moveTo>
                <a:lnTo>
                  <a:pt x="1979018" y="0"/>
                </a:lnTo>
                <a:lnTo>
                  <a:pt x="1979018" y="1187410"/>
                </a:lnTo>
                <a:lnTo>
                  <a:pt x="0" y="1187410"/>
                </a:lnTo>
                <a:lnTo>
                  <a:pt x="0" y="0"/>
                </a:lnTo>
                <a:close/>
              </a:path>
            </a:pathLst>
          </a:custGeom>
          <a:solidFill>
            <a:schemeClr val="accent4"/>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5250" tIns="95250" rIns="95250" bIns="95250" numCol="1" spcCol="1270" anchor="ctr" anchorCtr="0">
            <a:noAutofit/>
          </a:bodyPr>
          <a:lstStyle/>
          <a:p>
            <a:pPr lvl="0" algn="ctr" defTabSz="1111250" rtl="0">
              <a:lnSpc>
                <a:spcPct val="90000"/>
              </a:lnSpc>
              <a:spcBef>
                <a:spcPct val="0"/>
              </a:spcBef>
              <a:spcAft>
                <a:spcPct val="35000"/>
              </a:spcAft>
            </a:pPr>
            <a:r>
              <a:rPr lang="en-GB" sz="2400" b="0" i="0" kern="1200" baseline="0" smtClean="0">
                <a:latin typeface="+mj-lt"/>
              </a:rPr>
              <a:t>Assessment</a:t>
            </a:r>
            <a:endParaRPr lang="en-GB" sz="2400" kern="1200">
              <a:latin typeface="+mj-lt"/>
            </a:endParaRPr>
          </a:p>
        </p:txBody>
      </p:sp>
      <p:sp>
        <p:nvSpPr>
          <p:cNvPr id="25" name="TextBox 24"/>
          <p:cNvSpPr txBox="1"/>
          <p:nvPr/>
        </p:nvSpPr>
        <p:spPr>
          <a:xfrm>
            <a:off x="2057400" y="1371481"/>
            <a:ext cx="3483427" cy="1569660"/>
          </a:xfrm>
          <a:prstGeom prst="rect">
            <a:avLst/>
          </a:prstGeom>
          <a:noFill/>
        </p:spPr>
        <p:txBody>
          <a:bodyPr wrap="square" rtlCol="0">
            <a:spAutoFit/>
          </a:bodyPr>
          <a:lstStyle/>
          <a:p>
            <a:pPr marL="285750" indent="-285750">
              <a:buFont typeface="Arial" pitchFamily="34" charset="0"/>
              <a:buChar char="•"/>
            </a:pPr>
            <a:r>
              <a:rPr lang="en-GB" sz="1600" dirty="0" smtClean="0">
                <a:latin typeface="+mj-lt"/>
              </a:rPr>
              <a:t>Like literacy and numeracy, oracy is an acquired, teachable skill with its own ‘language’ </a:t>
            </a:r>
          </a:p>
          <a:p>
            <a:pPr marL="285750" indent="-285750">
              <a:buFont typeface="Arial" pitchFamily="34" charset="0"/>
              <a:buChar char="•"/>
            </a:pPr>
            <a:r>
              <a:rPr lang="en-GB" sz="1600" dirty="0" smtClean="0">
                <a:latin typeface="+mj-lt"/>
              </a:rPr>
              <a:t>Dedicated time in the timetable enables students to build an oracy ‘toolkit’</a:t>
            </a:r>
            <a:endParaRPr lang="en-GB" sz="1600" dirty="0">
              <a:latin typeface="+mj-lt"/>
            </a:endParaRPr>
          </a:p>
        </p:txBody>
      </p:sp>
      <p:sp>
        <p:nvSpPr>
          <p:cNvPr id="26" name="TextBox 25"/>
          <p:cNvSpPr txBox="1"/>
          <p:nvPr/>
        </p:nvSpPr>
        <p:spPr>
          <a:xfrm>
            <a:off x="2057400" y="3200400"/>
            <a:ext cx="3483427" cy="1323439"/>
          </a:xfrm>
          <a:prstGeom prst="rect">
            <a:avLst/>
          </a:prstGeom>
          <a:noFill/>
        </p:spPr>
        <p:txBody>
          <a:bodyPr wrap="square" rtlCol="0">
            <a:spAutoFit/>
          </a:bodyPr>
          <a:lstStyle/>
          <a:p>
            <a:pPr marL="285750" indent="-285750">
              <a:buFont typeface="Arial" pitchFamily="34" charset="0"/>
              <a:buChar char="•"/>
            </a:pPr>
            <a:r>
              <a:rPr lang="en-GB" sz="1600" dirty="0" smtClean="0">
                <a:latin typeface="+mj-lt"/>
              </a:rPr>
              <a:t>Like literacy, oracy should be part of all other lessons</a:t>
            </a:r>
          </a:p>
          <a:p>
            <a:pPr marL="285750" indent="-285750">
              <a:buFont typeface="Arial" pitchFamily="34" charset="0"/>
              <a:buChar char="•"/>
            </a:pPr>
            <a:r>
              <a:rPr lang="en-GB" sz="1600" dirty="0" smtClean="0">
                <a:latin typeface="+mj-lt"/>
              </a:rPr>
              <a:t>Oracy can enhance all areas of school life, inside the classroom and out; parents should also be involved</a:t>
            </a:r>
            <a:endParaRPr lang="en-GB" sz="1600" dirty="0">
              <a:latin typeface="+mj-lt"/>
            </a:endParaRPr>
          </a:p>
        </p:txBody>
      </p:sp>
      <p:sp>
        <p:nvSpPr>
          <p:cNvPr id="44" name="TextBox 43"/>
          <p:cNvSpPr txBox="1"/>
          <p:nvPr/>
        </p:nvSpPr>
        <p:spPr>
          <a:xfrm>
            <a:off x="2093686" y="5029200"/>
            <a:ext cx="3483427" cy="1077218"/>
          </a:xfrm>
          <a:prstGeom prst="rect">
            <a:avLst/>
          </a:prstGeom>
          <a:noFill/>
        </p:spPr>
        <p:txBody>
          <a:bodyPr wrap="square" rtlCol="0">
            <a:spAutoFit/>
          </a:bodyPr>
          <a:lstStyle/>
          <a:p>
            <a:pPr marL="285750" indent="-285750">
              <a:buFont typeface="Arial" pitchFamily="34" charset="0"/>
              <a:buChar char="•"/>
            </a:pPr>
            <a:r>
              <a:rPr lang="en-GB" sz="1600" dirty="0" smtClean="0">
                <a:latin typeface="+mj-lt"/>
              </a:rPr>
              <a:t>A diagnostic, formative </a:t>
            </a:r>
            <a:r>
              <a:rPr lang="en-GB" sz="1600" dirty="0">
                <a:latin typeface="+mj-lt"/>
              </a:rPr>
              <a:t>assessment </a:t>
            </a:r>
            <a:r>
              <a:rPr lang="en-GB" sz="1600" dirty="0" smtClean="0">
                <a:latin typeface="+mj-lt"/>
              </a:rPr>
              <a:t>can guide teaching of oracy</a:t>
            </a:r>
          </a:p>
          <a:p>
            <a:pPr marL="285750" indent="-285750">
              <a:buFont typeface="Arial" pitchFamily="34" charset="0"/>
              <a:buChar char="•"/>
            </a:pPr>
            <a:r>
              <a:rPr lang="en-GB" sz="1600" dirty="0" smtClean="0">
                <a:latin typeface="+mj-lt"/>
              </a:rPr>
              <a:t>Assessment can be a powerful tool in raising </a:t>
            </a:r>
            <a:r>
              <a:rPr lang="en-GB" sz="1600" dirty="0" err="1" smtClean="0">
                <a:latin typeface="+mj-lt"/>
              </a:rPr>
              <a:t>oracy’s</a:t>
            </a:r>
            <a:r>
              <a:rPr lang="en-GB" sz="1600" dirty="0" smtClean="0">
                <a:latin typeface="+mj-lt"/>
              </a:rPr>
              <a:t> perceived status</a:t>
            </a:r>
            <a:endParaRPr lang="en-GB" sz="1600" dirty="0">
              <a:latin typeface="+mj-lt"/>
            </a:endParaRPr>
          </a:p>
        </p:txBody>
      </p:sp>
      <p:sp>
        <p:nvSpPr>
          <p:cNvPr id="47" name="Rounded Rectangle 4"/>
          <p:cNvSpPr/>
          <p:nvPr/>
        </p:nvSpPr>
        <p:spPr>
          <a:xfrm>
            <a:off x="5691361" y="1391896"/>
            <a:ext cx="3288322" cy="20957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t" anchorCtr="0">
            <a:noAutofit/>
          </a:bodyPr>
          <a:lstStyle/>
          <a:p>
            <a:pPr marL="285750" lvl="1" indent="-285750" defTabSz="622300">
              <a:lnSpc>
                <a:spcPct val="90000"/>
              </a:lnSpc>
              <a:buFont typeface="Arial" pitchFamily="34" charset="0"/>
              <a:buChar char="•"/>
            </a:pPr>
            <a:r>
              <a:rPr lang="en-GB" sz="1600" dirty="0">
                <a:solidFill>
                  <a:schemeClr val="tx1"/>
                </a:solidFill>
                <a:latin typeface="+mj-lt"/>
                <a:cs typeface="Arial" charset="0"/>
              </a:rPr>
              <a:t>Timetabled oracy lessons</a:t>
            </a:r>
          </a:p>
          <a:p>
            <a:pPr marL="285750" lvl="1" indent="-285750" defTabSz="622300">
              <a:lnSpc>
                <a:spcPct val="90000"/>
              </a:lnSpc>
              <a:buFont typeface="Arial" pitchFamily="34" charset="0"/>
              <a:buChar char="•"/>
            </a:pPr>
            <a:r>
              <a:rPr lang="en-GB" sz="1600" dirty="0">
                <a:solidFill>
                  <a:schemeClr val="tx1"/>
                </a:solidFill>
                <a:latin typeface="+mj-lt"/>
                <a:cs typeface="Arial" charset="0"/>
              </a:rPr>
              <a:t>Formal learning objectives, as for English and Maths</a:t>
            </a:r>
          </a:p>
          <a:p>
            <a:pPr marL="285750" lvl="1" indent="-285750" defTabSz="622300">
              <a:lnSpc>
                <a:spcPct val="90000"/>
              </a:lnSpc>
              <a:buFont typeface="Arial" pitchFamily="34" charset="0"/>
              <a:buChar char="•"/>
            </a:pPr>
            <a:r>
              <a:rPr lang="en-GB" sz="1600" dirty="0">
                <a:solidFill>
                  <a:schemeClr val="tx1"/>
                </a:solidFill>
                <a:latin typeface="+mj-lt"/>
                <a:cs typeface="Arial" charset="0"/>
              </a:rPr>
              <a:t>Schemes of work</a:t>
            </a:r>
          </a:p>
          <a:p>
            <a:pPr marL="285750" lvl="1" indent="-285750" defTabSz="622300">
              <a:lnSpc>
                <a:spcPct val="90000"/>
              </a:lnSpc>
              <a:buFont typeface="Arial" pitchFamily="34" charset="0"/>
              <a:buChar char="•"/>
            </a:pPr>
            <a:r>
              <a:rPr lang="en-GB" sz="1600" dirty="0">
                <a:solidFill>
                  <a:schemeClr val="tx1"/>
                </a:solidFill>
                <a:latin typeface="+mj-lt"/>
                <a:cs typeface="Arial" charset="0"/>
              </a:rPr>
              <a:t>Online, open-source resource</a:t>
            </a:r>
          </a:p>
        </p:txBody>
      </p:sp>
      <p:sp>
        <p:nvSpPr>
          <p:cNvPr id="48" name="TextBox 47"/>
          <p:cNvSpPr txBox="1"/>
          <p:nvPr/>
        </p:nvSpPr>
        <p:spPr>
          <a:xfrm>
            <a:off x="2057400" y="1066800"/>
            <a:ext cx="3483427" cy="338554"/>
          </a:xfrm>
          <a:prstGeom prst="rect">
            <a:avLst/>
          </a:prstGeom>
          <a:noFill/>
        </p:spPr>
        <p:txBody>
          <a:bodyPr wrap="square" rtlCol="0">
            <a:spAutoFit/>
          </a:bodyPr>
          <a:lstStyle/>
          <a:p>
            <a:r>
              <a:rPr lang="en-GB" sz="1600" b="1" dirty="0">
                <a:latin typeface="+mj-lt"/>
              </a:rPr>
              <a:t>R</a:t>
            </a:r>
            <a:r>
              <a:rPr lang="en-GB" sz="1600" b="1" dirty="0" smtClean="0">
                <a:latin typeface="+mj-lt"/>
              </a:rPr>
              <a:t>ationale</a:t>
            </a:r>
            <a:endParaRPr lang="en-GB" sz="1600" b="1" dirty="0">
              <a:latin typeface="+mj-lt"/>
            </a:endParaRPr>
          </a:p>
        </p:txBody>
      </p:sp>
      <p:cxnSp>
        <p:nvCxnSpPr>
          <p:cNvPr id="4" name="Straight Connector 3"/>
          <p:cNvCxnSpPr/>
          <p:nvPr/>
        </p:nvCxnSpPr>
        <p:spPr>
          <a:xfrm>
            <a:off x="2093686" y="1371481"/>
            <a:ext cx="344714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769427" y="1371481"/>
            <a:ext cx="321025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5736771" y="1066800"/>
            <a:ext cx="1197430" cy="338554"/>
          </a:xfrm>
          <a:prstGeom prst="rect">
            <a:avLst/>
          </a:prstGeom>
          <a:noFill/>
        </p:spPr>
        <p:txBody>
          <a:bodyPr wrap="square" rtlCol="0">
            <a:spAutoFit/>
          </a:bodyPr>
          <a:lstStyle/>
          <a:p>
            <a:r>
              <a:rPr lang="en-GB" sz="1600" b="1" dirty="0" smtClean="0">
                <a:latin typeface="+mj-lt"/>
              </a:rPr>
              <a:t>Outputs</a:t>
            </a:r>
            <a:endParaRPr lang="en-GB" sz="1600" b="1" dirty="0">
              <a:latin typeface="+mj-lt"/>
            </a:endParaRPr>
          </a:p>
        </p:txBody>
      </p:sp>
      <p:sp>
        <p:nvSpPr>
          <p:cNvPr id="7" name="Rectangle 6"/>
          <p:cNvSpPr/>
          <p:nvPr/>
        </p:nvSpPr>
        <p:spPr>
          <a:xfrm>
            <a:off x="5691360" y="3200400"/>
            <a:ext cx="3452639" cy="1421928"/>
          </a:xfrm>
          <a:prstGeom prst="rect">
            <a:avLst/>
          </a:prstGeom>
        </p:spPr>
        <p:txBody>
          <a:bodyPr wrap="square">
            <a:spAutoFit/>
          </a:bodyPr>
          <a:lstStyle/>
          <a:p>
            <a:pPr marL="285750" lvl="1" indent="-285750" defTabSz="800100">
              <a:lnSpc>
                <a:spcPct val="90000"/>
              </a:lnSpc>
              <a:buFont typeface="Arial" pitchFamily="34" charset="0"/>
              <a:buChar char="•"/>
            </a:pPr>
            <a:r>
              <a:rPr lang="en-GB" sz="1600" dirty="0">
                <a:latin typeface="+mj-lt"/>
              </a:rPr>
              <a:t>Well-structured, high-quality talk is a powerful teaching tool</a:t>
            </a:r>
          </a:p>
          <a:p>
            <a:pPr marL="285750" lvl="1" indent="-285750" defTabSz="800100">
              <a:lnSpc>
                <a:spcPct val="90000"/>
              </a:lnSpc>
              <a:buFont typeface="Arial" pitchFamily="34" charset="0"/>
              <a:buChar char="•"/>
            </a:pPr>
            <a:r>
              <a:rPr lang="en-GB" sz="1600" dirty="0">
                <a:latin typeface="+mj-lt"/>
              </a:rPr>
              <a:t>Available in different strengths: from simple ‘same-day strategies’ and extra-curricular activities to assemblies, tutor time and CPD</a:t>
            </a:r>
          </a:p>
        </p:txBody>
      </p:sp>
      <p:sp>
        <p:nvSpPr>
          <p:cNvPr id="8" name="Rectangle 7"/>
          <p:cNvSpPr/>
          <p:nvPr/>
        </p:nvSpPr>
        <p:spPr>
          <a:xfrm>
            <a:off x="5704113" y="5042265"/>
            <a:ext cx="3439886" cy="1200329"/>
          </a:xfrm>
          <a:prstGeom prst="rect">
            <a:avLst/>
          </a:prstGeom>
        </p:spPr>
        <p:txBody>
          <a:bodyPr wrap="square">
            <a:spAutoFit/>
          </a:bodyPr>
          <a:lstStyle/>
          <a:p>
            <a:pPr marL="285750" lvl="1" indent="-285750" defTabSz="800100">
              <a:lnSpc>
                <a:spcPct val="90000"/>
              </a:lnSpc>
              <a:buFont typeface="Arial" pitchFamily="34" charset="0"/>
              <a:buChar char="•"/>
            </a:pPr>
            <a:r>
              <a:rPr lang="en-GB" sz="1600" dirty="0" smtClean="0">
                <a:latin typeface="+mj-lt"/>
              </a:rPr>
              <a:t>Identifies </a:t>
            </a:r>
            <a:r>
              <a:rPr lang="en-GB" sz="1600" dirty="0">
                <a:latin typeface="+mj-lt"/>
              </a:rPr>
              <a:t>individuals’ </a:t>
            </a:r>
            <a:r>
              <a:rPr lang="en-GB" sz="1600" dirty="0" smtClean="0">
                <a:latin typeface="+mj-lt"/>
              </a:rPr>
              <a:t>areas of development from a skills framework</a:t>
            </a:r>
            <a:endParaRPr lang="en-GB" sz="1600" dirty="0">
              <a:latin typeface="+mj-lt"/>
            </a:endParaRPr>
          </a:p>
          <a:p>
            <a:pPr marL="285750" lvl="1" indent="-285750" defTabSz="800100">
              <a:lnSpc>
                <a:spcPct val="90000"/>
              </a:lnSpc>
              <a:buFont typeface="Arial" pitchFamily="34" charset="0"/>
              <a:buChar char="•"/>
            </a:pPr>
            <a:r>
              <a:rPr lang="en-GB" sz="1600" dirty="0" smtClean="0">
                <a:latin typeface="+mj-lt"/>
              </a:rPr>
              <a:t>Assesses students’ oracy in a range of contexts </a:t>
            </a:r>
            <a:endParaRPr lang="en-GB" sz="1600" dirty="0">
              <a:latin typeface="+mj-lt"/>
            </a:endParaRPr>
          </a:p>
        </p:txBody>
      </p:sp>
      <p:cxnSp>
        <p:nvCxnSpPr>
          <p:cNvPr id="10" name="Straight Connector 9"/>
          <p:cNvCxnSpPr/>
          <p:nvPr/>
        </p:nvCxnSpPr>
        <p:spPr>
          <a:xfrm>
            <a:off x="2093686" y="2946027"/>
            <a:ext cx="68859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093686" y="4749554"/>
            <a:ext cx="68859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17310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 y="269776"/>
            <a:ext cx="9052560" cy="1143000"/>
          </a:xfrm>
        </p:spPr>
        <p:txBody>
          <a:bodyPr>
            <a:normAutofit fontScale="90000"/>
          </a:bodyPr>
          <a:lstStyle/>
          <a:p>
            <a:pPr algn="l"/>
            <a:r>
              <a:rPr lang="en-GB" dirty="0" smtClean="0">
                <a:latin typeface="Gill Sans MT" pitchFamily="34" charset="0"/>
              </a:rPr>
              <a:t>School 21 will need to work with partners to teach oracy skills effectively </a:t>
            </a:r>
            <a:endParaRPr lang="en-GB" dirty="0">
              <a:latin typeface="Gill Sans MT"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71493089"/>
              </p:ext>
            </p:extLst>
          </p:nvPr>
        </p:nvGraphicFramePr>
        <p:xfrm>
          <a:off x="73565" y="1700808"/>
          <a:ext cx="8962931" cy="43879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1951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952" y="269776"/>
            <a:ext cx="9052560" cy="1143000"/>
          </a:xfrm>
        </p:spPr>
        <p:txBody>
          <a:bodyPr>
            <a:noAutofit/>
          </a:bodyPr>
          <a:lstStyle/>
          <a:p>
            <a:pPr algn="l"/>
            <a:r>
              <a:rPr lang="en-GB" sz="3600" dirty="0" smtClean="0">
                <a:latin typeface="Gill Sans MT" pitchFamily="34" charset="0"/>
              </a:rPr>
              <a:t>We need to work out a balanced exchange of benefits between the school and its partners</a:t>
            </a:r>
            <a:endParaRPr lang="en-GB" sz="3600" dirty="0">
              <a:latin typeface="Gill Sans MT" pitchFamily="34" charset="0"/>
            </a:endParaRPr>
          </a:p>
        </p:txBody>
      </p:sp>
      <p:grpSp>
        <p:nvGrpSpPr>
          <p:cNvPr id="27" name="Group 26"/>
          <p:cNvGrpSpPr/>
          <p:nvPr/>
        </p:nvGrpSpPr>
        <p:grpSpPr>
          <a:xfrm>
            <a:off x="112931" y="1787498"/>
            <a:ext cx="4646270" cy="4089774"/>
            <a:chOff x="142629" y="2957409"/>
            <a:chExt cx="4646270" cy="1907910"/>
          </a:xfrm>
        </p:grpSpPr>
        <p:sp>
          <p:nvSpPr>
            <p:cNvPr id="28" name="Freeform 27"/>
            <p:cNvSpPr/>
            <p:nvPr/>
          </p:nvSpPr>
          <p:spPr>
            <a:xfrm>
              <a:off x="142629" y="2957409"/>
              <a:ext cx="4645395" cy="676260"/>
            </a:xfrm>
            <a:custGeom>
              <a:avLst/>
              <a:gdLst>
                <a:gd name="connsiteX0" fmla="*/ 0 w 4645395"/>
                <a:gd name="connsiteY0" fmla="*/ 112712 h 676260"/>
                <a:gd name="connsiteX1" fmla="*/ 112712 w 4645395"/>
                <a:gd name="connsiteY1" fmla="*/ 0 h 676260"/>
                <a:gd name="connsiteX2" fmla="*/ 4532683 w 4645395"/>
                <a:gd name="connsiteY2" fmla="*/ 0 h 676260"/>
                <a:gd name="connsiteX3" fmla="*/ 4645395 w 4645395"/>
                <a:gd name="connsiteY3" fmla="*/ 112712 h 676260"/>
                <a:gd name="connsiteX4" fmla="*/ 4645395 w 4645395"/>
                <a:gd name="connsiteY4" fmla="*/ 563548 h 676260"/>
                <a:gd name="connsiteX5" fmla="*/ 4532683 w 4645395"/>
                <a:gd name="connsiteY5" fmla="*/ 676260 h 676260"/>
                <a:gd name="connsiteX6" fmla="*/ 112712 w 4645395"/>
                <a:gd name="connsiteY6" fmla="*/ 676260 h 676260"/>
                <a:gd name="connsiteX7" fmla="*/ 0 w 4645395"/>
                <a:gd name="connsiteY7" fmla="*/ 563548 h 676260"/>
                <a:gd name="connsiteX8" fmla="*/ 0 w 4645395"/>
                <a:gd name="connsiteY8" fmla="*/ 112712 h 67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395" h="676260">
                  <a:moveTo>
                    <a:pt x="0" y="112712"/>
                  </a:moveTo>
                  <a:cubicBezTo>
                    <a:pt x="0" y="50463"/>
                    <a:pt x="50463" y="0"/>
                    <a:pt x="112712" y="0"/>
                  </a:cubicBezTo>
                  <a:lnTo>
                    <a:pt x="4532683" y="0"/>
                  </a:lnTo>
                  <a:cubicBezTo>
                    <a:pt x="4594932" y="0"/>
                    <a:pt x="4645395" y="50463"/>
                    <a:pt x="4645395" y="112712"/>
                  </a:cubicBezTo>
                  <a:lnTo>
                    <a:pt x="4645395" y="563548"/>
                  </a:lnTo>
                  <a:cubicBezTo>
                    <a:pt x="4645395" y="625797"/>
                    <a:pt x="4594932" y="676260"/>
                    <a:pt x="4532683" y="676260"/>
                  </a:cubicBezTo>
                  <a:lnTo>
                    <a:pt x="112712" y="676260"/>
                  </a:lnTo>
                  <a:cubicBezTo>
                    <a:pt x="50463" y="676260"/>
                    <a:pt x="0" y="625797"/>
                    <a:pt x="0" y="563548"/>
                  </a:cubicBezTo>
                  <a:lnTo>
                    <a:pt x="0" y="112712"/>
                  </a:lnTo>
                  <a:close/>
                </a:path>
              </a:pathLst>
            </a:cu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782" tIns="97782" rIns="97782" bIns="97782" numCol="1" spcCol="1270" anchor="ctr" anchorCtr="0">
              <a:noAutofit/>
            </a:bodyPr>
            <a:lstStyle/>
            <a:p>
              <a:pPr lvl="0" algn="l" defTabSz="755650" rtl="0">
                <a:lnSpc>
                  <a:spcPct val="90000"/>
                </a:lnSpc>
                <a:spcBef>
                  <a:spcPct val="0"/>
                </a:spcBef>
                <a:spcAft>
                  <a:spcPct val="35000"/>
                </a:spcAft>
              </a:pPr>
              <a:r>
                <a:rPr lang="en-GB" sz="1700" kern="1200" dirty="0" smtClean="0"/>
                <a:t>School 21 is a high-profile school and partnership offers many benefits:</a:t>
              </a:r>
              <a:endParaRPr lang="en-GB" sz="1700" kern="1200" dirty="0"/>
            </a:p>
          </p:txBody>
        </p:sp>
        <p:sp>
          <p:nvSpPr>
            <p:cNvPr id="29" name="Freeform 28"/>
            <p:cNvSpPr/>
            <p:nvPr/>
          </p:nvSpPr>
          <p:spPr>
            <a:xfrm>
              <a:off x="142629" y="3633669"/>
              <a:ext cx="4645395" cy="1231650"/>
            </a:xfrm>
            <a:custGeom>
              <a:avLst/>
              <a:gdLst>
                <a:gd name="connsiteX0" fmla="*/ 0 w 4645395"/>
                <a:gd name="connsiteY0" fmla="*/ 0 h 1231650"/>
                <a:gd name="connsiteX1" fmla="*/ 4645395 w 4645395"/>
                <a:gd name="connsiteY1" fmla="*/ 0 h 1231650"/>
                <a:gd name="connsiteX2" fmla="*/ 4645395 w 4645395"/>
                <a:gd name="connsiteY2" fmla="*/ 1231650 h 1231650"/>
                <a:gd name="connsiteX3" fmla="*/ 0 w 4645395"/>
                <a:gd name="connsiteY3" fmla="*/ 1231650 h 1231650"/>
                <a:gd name="connsiteX4" fmla="*/ 0 w 4645395"/>
                <a:gd name="connsiteY4" fmla="*/ 0 h 123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5395" h="1231650">
                  <a:moveTo>
                    <a:pt x="0" y="0"/>
                  </a:moveTo>
                  <a:lnTo>
                    <a:pt x="4645395" y="0"/>
                  </a:lnTo>
                  <a:lnTo>
                    <a:pt x="4645395" y="1231650"/>
                  </a:lnTo>
                  <a:lnTo>
                    <a:pt x="0" y="12316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7491" tIns="21590" rIns="120904" bIns="21590" numCol="1" spcCol="1270" anchor="t" anchorCtr="0">
              <a:noAutofit/>
            </a:bodyPr>
            <a:lstStyle/>
            <a:p>
              <a:pPr marL="114300" lvl="1" indent="-114300" algn="l" defTabSz="577850" rtl="0">
                <a:lnSpc>
                  <a:spcPct val="90000"/>
                </a:lnSpc>
                <a:spcBef>
                  <a:spcPct val="0"/>
                </a:spcBef>
                <a:spcAft>
                  <a:spcPct val="20000"/>
                </a:spcAft>
                <a:buChar char="••"/>
              </a:pPr>
              <a:endParaRPr lang="en-GB" sz="1300" kern="1200" dirty="0"/>
            </a:p>
          </p:txBody>
        </p:sp>
        <p:sp>
          <p:nvSpPr>
            <p:cNvPr id="30" name="Freeform 29"/>
            <p:cNvSpPr/>
            <p:nvPr/>
          </p:nvSpPr>
          <p:spPr>
            <a:xfrm>
              <a:off x="143504" y="4340151"/>
              <a:ext cx="4645395" cy="461895"/>
            </a:xfrm>
            <a:custGeom>
              <a:avLst/>
              <a:gdLst>
                <a:gd name="connsiteX0" fmla="*/ 0 w 4645395"/>
                <a:gd name="connsiteY0" fmla="*/ 112712 h 676260"/>
                <a:gd name="connsiteX1" fmla="*/ 112712 w 4645395"/>
                <a:gd name="connsiteY1" fmla="*/ 0 h 676260"/>
                <a:gd name="connsiteX2" fmla="*/ 4532683 w 4645395"/>
                <a:gd name="connsiteY2" fmla="*/ 0 h 676260"/>
                <a:gd name="connsiteX3" fmla="*/ 4645395 w 4645395"/>
                <a:gd name="connsiteY3" fmla="*/ 112712 h 676260"/>
                <a:gd name="connsiteX4" fmla="*/ 4645395 w 4645395"/>
                <a:gd name="connsiteY4" fmla="*/ 563548 h 676260"/>
                <a:gd name="connsiteX5" fmla="*/ 4532683 w 4645395"/>
                <a:gd name="connsiteY5" fmla="*/ 676260 h 676260"/>
                <a:gd name="connsiteX6" fmla="*/ 112712 w 4645395"/>
                <a:gd name="connsiteY6" fmla="*/ 676260 h 676260"/>
                <a:gd name="connsiteX7" fmla="*/ 0 w 4645395"/>
                <a:gd name="connsiteY7" fmla="*/ 563548 h 676260"/>
                <a:gd name="connsiteX8" fmla="*/ 0 w 4645395"/>
                <a:gd name="connsiteY8" fmla="*/ 112712 h 67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5395" h="676260">
                  <a:moveTo>
                    <a:pt x="0" y="112712"/>
                  </a:moveTo>
                  <a:cubicBezTo>
                    <a:pt x="0" y="50463"/>
                    <a:pt x="50463" y="0"/>
                    <a:pt x="112712" y="0"/>
                  </a:cubicBezTo>
                  <a:lnTo>
                    <a:pt x="4532683" y="0"/>
                  </a:lnTo>
                  <a:cubicBezTo>
                    <a:pt x="4594932" y="0"/>
                    <a:pt x="4645395" y="50463"/>
                    <a:pt x="4645395" y="112712"/>
                  </a:cubicBezTo>
                  <a:lnTo>
                    <a:pt x="4645395" y="563548"/>
                  </a:lnTo>
                  <a:cubicBezTo>
                    <a:pt x="4645395" y="625797"/>
                    <a:pt x="4594932" y="676260"/>
                    <a:pt x="4532683" y="676260"/>
                  </a:cubicBezTo>
                  <a:lnTo>
                    <a:pt x="112712" y="676260"/>
                  </a:lnTo>
                  <a:cubicBezTo>
                    <a:pt x="50463" y="676260"/>
                    <a:pt x="0" y="625797"/>
                    <a:pt x="0" y="563548"/>
                  </a:cubicBezTo>
                  <a:lnTo>
                    <a:pt x="0" y="112712"/>
                  </a:lnTo>
                  <a:close/>
                </a:path>
              </a:pathLst>
            </a:cu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782" tIns="97782" rIns="97782" bIns="97782" numCol="1" spcCol="1270" anchor="ctr" anchorCtr="0">
              <a:noAutofit/>
            </a:bodyPr>
            <a:lstStyle/>
            <a:p>
              <a:pPr lvl="0" algn="l" defTabSz="755650" rtl="0">
                <a:lnSpc>
                  <a:spcPct val="90000"/>
                </a:lnSpc>
                <a:spcBef>
                  <a:spcPct val="0"/>
                </a:spcBef>
                <a:spcAft>
                  <a:spcPct val="35000"/>
                </a:spcAft>
              </a:pPr>
              <a:r>
                <a:rPr lang="en-GB" sz="1700" kern="1200" dirty="0" smtClean="0"/>
                <a:t>The project will promote spoken language which will be beneficial for those working in the field</a:t>
              </a:r>
              <a:endParaRPr lang="en-GB" sz="1700" kern="1200" dirty="0"/>
            </a:p>
          </p:txBody>
        </p:sp>
      </p:grpSp>
      <p:grpSp>
        <p:nvGrpSpPr>
          <p:cNvPr id="24" name="Group 23"/>
          <p:cNvGrpSpPr/>
          <p:nvPr/>
        </p:nvGrpSpPr>
        <p:grpSpPr>
          <a:xfrm>
            <a:off x="4968335" y="1628800"/>
            <a:ext cx="3996153" cy="4743560"/>
            <a:chOff x="1153768" y="4289565"/>
            <a:chExt cx="4395769" cy="2522436"/>
          </a:xfrm>
        </p:grpSpPr>
        <p:grpSp>
          <p:nvGrpSpPr>
            <p:cNvPr id="16" name="Group 15"/>
            <p:cNvGrpSpPr/>
            <p:nvPr/>
          </p:nvGrpSpPr>
          <p:grpSpPr>
            <a:xfrm>
              <a:off x="1153768" y="4289565"/>
              <a:ext cx="4354336" cy="2522436"/>
              <a:chOff x="1153768" y="4289565"/>
              <a:chExt cx="4354336" cy="2522436"/>
            </a:xfrm>
          </p:grpSpPr>
          <p:sp>
            <p:nvSpPr>
              <p:cNvPr id="15" name="TextBox 14"/>
              <p:cNvSpPr txBox="1"/>
              <p:nvPr/>
            </p:nvSpPr>
            <p:spPr>
              <a:xfrm>
                <a:off x="1662877" y="4289565"/>
                <a:ext cx="2870435" cy="331999"/>
              </a:xfrm>
              <a:prstGeom prst="rect">
                <a:avLst/>
              </a:prstGeom>
              <a:solidFill>
                <a:schemeClr val="accent4"/>
              </a:solidFill>
            </p:spPr>
            <p:txBody>
              <a:bodyPr wrap="square" rtlCol="0">
                <a:spAutoFit/>
              </a:bodyPr>
              <a:lstStyle/>
              <a:p>
                <a:r>
                  <a:rPr lang="en-GB" sz="2400" dirty="0" smtClean="0">
                    <a:solidFill>
                      <a:schemeClr val="bg1"/>
                    </a:solidFill>
                    <a:latin typeface="Gill Sans MT" pitchFamily="34" charset="0"/>
                  </a:rPr>
                  <a:t>Impact of Voice 21</a:t>
                </a:r>
                <a:endParaRPr lang="en-GB" sz="2400" dirty="0">
                  <a:solidFill>
                    <a:schemeClr val="bg1"/>
                  </a:solidFill>
                  <a:latin typeface="Gill Sans MT" pitchFamily="34" charset="0"/>
                </a:endParaRPr>
              </a:p>
            </p:txBody>
          </p:sp>
          <p:grpSp>
            <p:nvGrpSpPr>
              <p:cNvPr id="14" name="Group 13"/>
              <p:cNvGrpSpPr/>
              <p:nvPr/>
            </p:nvGrpSpPr>
            <p:grpSpPr>
              <a:xfrm>
                <a:off x="1153768" y="4446784"/>
                <a:ext cx="4354336" cy="2365217"/>
                <a:chOff x="1153768" y="4247852"/>
                <a:chExt cx="4354336" cy="2365217"/>
              </a:xfrm>
            </p:grpSpPr>
            <p:sp>
              <p:nvSpPr>
                <p:cNvPr id="5" name="Rectangle 4"/>
                <p:cNvSpPr/>
                <p:nvPr/>
              </p:nvSpPr>
              <p:spPr>
                <a:xfrm>
                  <a:off x="1547664" y="4365104"/>
                  <a:ext cx="3960440" cy="2088232"/>
                </a:xfrm>
                <a:prstGeom prst="rect">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18900000" scaled="1"/>
                  <a:tileRect/>
                </a:grad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7" name="Straight Connector 6"/>
                <p:cNvCxnSpPr>
                  <a:stCxn id="5" idx="0"/>
                  <a:endCxn id="5" idx="2"/>
                </p:cNvCxnSpPr>
                <p:nvPr/>
              </p:nvCxnSpPr>
              <p:spPr>
                <a:xfrm>
                  <a:off x="3527884" y="4365104"/>
                  <a:ext cx="0" cy="2088232"/>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1547664" y="5356124"/>
                  <a:ext cx="3960440" cy="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0" name="TextBox 9"/>
                <p:cNvSpPr txBox="1"/>
                <p:nvPr/>
              </p:nvSpPr>
              <p:spPr>
                <a:xfrm>
                  <a:off x="1626873" y="6419064"/>
                  <a:ext cx="1425758" cy="194005"/>
                </a:xfrm>
                <a:prstGeom prst="rect">
                  <a:avLst/>
                </a:prstGeom>
                <a:noFill/>
              </p:spPr>
              <p:txBody>
                <a:bodyPr wrap="square" rtlCol="0">
                  <a:spAutoFit/>
                </a:bodyPr>
                <a:lstStyle/>
                <a:p>
                  <a:r>
                    <a:rPr lang="en-GB" dirty="0" smtClean="0">
                      <a:latin typeface="Gill Sans MT" pitchFamily="34" charset="0"/>
                    </a:rPr>
                    <a:t>Short term</a:t>
                  </a:r>
                </a:p>
              </p:txBody>
            </p:sp>
            <p:sp>
              <p:nvSpPr>
                <p:cNvPr id="11" name="TextBox 10"/>
                <p:cNvSpPr txBox="1"/>
                <p:nvPr/>
              </p:nvSpPr>
              <p:spPr>
                <a:xfrm>
                  <a:off x="3563888" y="6418345"/>
                  <a:ext cx="1296144" cy="178542"/>
                </a:xfrm>
                <a:prstGeom prst="rect">
                  <a:avLst/>
                </a:prstGeom>
                <a:noFill/>
              </p:spPr>
              <p:txBody>
                <a:bodyPr wrap="square" rtlCol="0">
                  <a:spAutoFit/>
                </a:bodyPr>
                <a:lstStyle/>
                <a:p>
                  <a:r>
                    <a:rPr lang="en-GB" dirty="0" smtClean="0">
                      <a:latin typeface="Gill Sans MT" pitchFamily="34" charset="0"/>
                    </a:rPr>
                    <a:t>Long term</a:t>
                  </a:r>
                </a:p>
              </p:txBody>
            </p:sp>
            <p:sp>
              <p:nvSpPr>
                <p:cNvPr id="12" name="TextBox 11"/>
                <p:cNvSpPr txBox="1"/>
                <p:nvPr/>
              </p:nvSpPr>
              <p:spPr>
                <a:xfrm rot="16200000">
                  <a:off x="1037215" y="5788358"/>
                  <a:ext cx="639372" cy="406265"/>
                </a:xfrm>
                <a:prstGeom prst="rect">
                  <a:avLst/>
                </a:prstGeom>
                <a:noFill/>
              </p:spPr>
              <p:txBody>
                <a:bodyPr wrap="square" rtlCol="0">
                  <a:spAutoFit/>
                </a:bodyPr>
                <a:lstStyle/>
                <a:p>
                  <a:r>
                    <a:rPr lang="en-GB" dirty="0" smtClean="0">
                      <a:latin typeface="Gill Sans MT" pitchFamily="34" charset="0"/>
                    </a:rPr>
                    <a:t>Local</a:t>
                  </a:r>
                  <a:endParaRPr lang="en-GB" dirty="0">
                    <a:latin typeface="Gill Sans MT" pitchFamily="34" charset="0"/>
                  </a:endParaRPr>
                </a:p>
              </p:txBody>
            </p:sp>
            <p:sp>
              <p:nvSpPr>
                <p:cNvPr id="13" name="TextBox 12"/>
                <p:cNvSpPr txBox="1"/>
                <p:nvPr/>
              </p:nvSpPr>
              <p:spPr>
                <a:xfrm rot="16200000">
                  <a:off x="846690" y="4559576"/>
                  <a:ext cx="1029714" cy="406265"/>
                </a:xfrm>
                <a:prstGeom prst="rect">
                  <a:avLst/>
                </a:prstGeom>
                <a:noFill/>
              </p:spPr>
              <p:txBody>
                <a:bodyPr wrap="square" rtlCol="0">
                  <a:spAutoFit/>
                </a:bodyPr>
                <a:lstStyle/>
                <a:p>
                  <a:r>
                    <a:rPr lang="en-GB" dirty="0" smtClean="0">
                      <a:latin typeface="Gill Sans MT" pitchFamily="34" charset="0"/>
                    </a:rPr>
                    <a:t>National</a:t>
                  </a:r>
                  <a:endParaRPr lang="en-GB" dirty="0">
                    <a:latin typeface="Gill Sans MT" pitchFamily="34" charset="0"/>
                  </a:endParaRPr>
                </a:p>
              </p:txBody>
            </p:sp>
          </p:grpSp>
        </p:grpSp>
        <p:sp>
          <p:nvSpPr>
            <p:cNvPr id="17" name="TextBox 16"/>
            <p:cNvSpPr txBox="1"/>
            <p:nvPr/>
          </p:nvSpPr>
          <p:spPr>
            <a:xfrm>
              <a:off x="3522233" y="4653136"/>
              <a:ext cx="1916853" cy="758802"/>
            </a:xfrm>
            <a:prstGeom prst="rect">
              <a:avLst/>
            </a:prstGeom>
            <a:noFill/>
          </p:spPr>
          <p:txBody>
            <a:bodyPr wrap="square" rtlCol="0">
              <a:spAutoFit/>
            </a:bodyPr>
            <a:lstStyle/>
            <a:p>
              <a:pPr marL="171450" indent="-171450">
                <a:buFont typeface="Arial" pitchFamily="34" charset="0"/>
                <a:buChar char="•"/>
              </a:pPr>
              <a:r>
                <a:rPr lang="en-GB" sz="1200" dirty="0" smtClean="0">
                  <a:latin typeface="Gill Sans MT" pitchFamily="34" charset="0"/>
                </a:rPr>
                <a:t>Oracy a well-regarded and nationally assessed subject; </a:t>
              </a:r>
            </a:p>
            <a:p>
              <a:pPr marL="171450" indent="-171450">
                <a:buFont typeface="Arial" pitchFamily="34" charset="0"/>
                <a:buChar char="•"/>
              </a:pPr>
              <a:endParaRPr lang="en-GB" sz="1200" dirty="0" smtClean="0">
                <a:latin typeface="Gill Sans MT" pitchFamily="34" charset="0"/>
              </a:endParaRPr>
            </a:p>
            <a:p>
              <a:pPr marL="171450" indent="-171450">
                <a:buFont typeface="Arial" pitchFamily="34" charset="0"/>
                <a:buChar char="•"/>
              </a:pPr>
              <a:r>
                <a:rPr lang="en-GB" sz="1200" dirty="0" smtClean="0">
                  <a:latin typeface="Gill Sans MT" pitchFamily="34" charset="0"/>
                </a:rPr>
                <a:t>Well-resourced speech curricula in most schools</a:t>
              </a:r>
            </a:p>
            <a:p>
              <a:endParaRPr lang="en-GB" sz="1200" dirty="0" smtClean="0">
                <a:latin typeface="Gill Sans MT" pitchFamily="34" charset="0"/>
              </a:endParaRPr>
            </a:p>
          </p:txBody>
        </p:sp>
        <p:sp>
          <p:nvSpPr>
            <p:cNvPr id="18" name="TextBox 17"/>
            <p:cNvSpPr txBox="1"/>
            <p:nvPr/>
          </p:nvSpPr>
          <p:spPr>
            <a:xfrm>
              <a:off x="3531428" y="5643273"/>
              <a:ext cx="2018109" cy="758802"/>
            </a:xfrm>
            <a:prstGeom prst="rect">
              <a:avLst/>
            </a:prstGeom>
            <a:noFill/>
          </p:spPr>
          <p:txBody>
            <a:bodyPr wrap="square" rtlCol="0">
              <a:spAutoFit/>
            </a:bodyPr>
            <a:lstStyle/>
            <a:p>
              <a:pPr marL="171450" indent="-171450">
                <a:buFont typeface="Arial" pitchFamily="34" charset="0"/>
                <a:buChar char="•"/>
              </a:pPr>
              <a:r>
                <a:rPr lang="en-GB" sz="1200" dirty="0" smtClean="0">
                  <a:latin typeface="Gill Sans MT" pitchFamily="34" charset="0"/>
                </a:rPr>
                <a:t>Oracy culture and curriculum firmly in place at School 21 and in partner schools; </a:t>
              </a:r>
            </a:p>
            <a:p>
              <a:pPr marL="171450" indent="-171450">
                <a:buFont typeface="Arial" pitchFamily="34" charset="0"/>
                <a:buChar char="•"/>
              </a:pPr>
              <a:endParaRPr lang="en-GB" sz="1200" dirty="0" smtClean="0">
                <a:latin typeface="Gill Sans MT" pitchFamily="34" charset="0"/>
              </a:endParaRPr>
            </a:p>
            <a:p>
              <a:pPr marL="171450" indent="-171450">
                <a:buFont typeface="Arial" pitchFamily="34" charset="0"/>
                <a:buChar char="•"/>
              </a:pPr>
              <a:r>
                <a:rPr lang="en-GB" sz="1200" dirty="0" smtClean="0">
                  <a:latin typeface="Gill Sans MT" pitchFamily="34" charset="0"/>
                </a:rPr>
                <a:t>Knock-on improvement of educational standards in Newham</a:t>
              </a:r>
              <a:endParaRPr lang="en-GB" sz="1200" dirty="0">
                <a:latin typeface="Gill Sans MT" pitchFamily="34" charset="0"/>
              </a:endParaRPr>
            </a:p>
          </p:txBody>
        </p:sp>
        <p:sp>
          <p:nvSpPr>
            <p:cNvPr id="21" name="TextBox 20"/>
            <p:cNvSpPr txBox="1"/>
            <p:nvPr/>
          </p:nvSpPr>
          <p:spPr>
            <a:xfrm>
              <a:off x="1542847" y="4656373"/>
              <a:ext cx="1897683" cy="580261"/>
            </a:xfrm>
            <a:prstGeom prst="rect">
              <a:avLst/>
            </a:prstGeom>
            <a:noFill/>
          </p:spPr>
          <p:txBody>
            <a:bodyPr wrap="square" rtlCol="0">
              <a:spAutoFit/>
            </a:bodyPr>
            <a:lstStyle/>
            <a:p>
              <a:pPr marL="171450" indent="-171450">
                <a:buFont typeface="Arial" pitchFamily="34" charset="0"/>
                <a:buChar char="•"/>
              </a:pPr>
              <a:r>
                <a:rPr lang="en-GB" sz="1200" dirty="0" smtClean="0">
                  <a:latin typeface="Gill Sans MT" pitchFamily="34" charset="0"/>
                </a:rPr>
                <a:t>Increased awareness of spoken communication skills among schools, government and the media</a:t>
              </a:r>
              <a:endParaRPr lang="en-GB" sz="1200" dirty="0">
                <a:latin typeface="Gill Sans MT" pitchFamily="34" charset="0"/>
              </a:endParaRPr>
            </a:p>
          </p:txBody>
        </p:sp>
        <p:sp>
          <p:nvSpPr>
            <p:cNvPr id="22" name="TextBox 21"/>
            <p:cNvSpPr txBox="1"/>
            <p:nvPr/>
          </p:nvSpPr>
          <p:spPr>
            <a:xfrm>
              <a:off x="1634456" y="5643829"/>
              <a:ext cx="1857424" cy="758802"/>
            </a:xfrm>
            <a:prstGeom prst="rect">
              <a:avLst/>
            </a:prstGeom>
            <a:noFill/>
          </p:spPr>
          <p:txBody>
            <a:bodyPr wrap="square" rtlCol="0">
              <a:spAutoFit/>
            </a:bodyPr>
            <a:lstStyle/>
            <a:p>
              <a:pPr marL="171450" indent="-171450">
                <a:buFont typeface="Arial" pitchFamily="34" charset="0"/>
                <a:buChar char="•"/>
              </a:pPr>
              <a:r>
                <a:rPr lang="en-GB" sz="1200" dirty="0" smtClean="0">
                  <a:latin typeface="Gill Sans MT" pitchFamily="34" charset="0"/>
                </a:rPr>
                <a:t>Steep improvement in students’ oracy skills at School 21 and in partner schools in an area of high social deprivation</a:t>
              </a:r>
            </a:p>
            <a:p>
              <a:pPr marL="285750" indent="-285750">
                <a:buFont typeface="Arial" pitchFamily="34" charset="0"/>
                <a:buChar char="•"/>
              </a:pPr>
              <a:endParaRPr lang="en-GB" sz="1200" dirty="0">
                <a:latin typeface="Gill Sans MT" pitchFamily="34" charset="0"/>
              </a:endParaRPr>
            </a:p>
          </p:txBody>
        </p:sp>
      </p:grpSp>
      <p:graphicFrame>
        <p:nvGraphicFramePr>
          <p:cNvPr id="37" name="Diagram 36"/>
          <p:cNvGraphicFramePr/>
          <p:nvPr>
            <p:extLst>
              <p:ext uri="{D42A27DB-BD31-4B8C-83A1-F6EECF244321}">
                <p14:modId xmlns:p14="http://schemas.microsoft.com/office/powerpoint/2010/main" val="2076288464"/>
              </p:ext>
            </p:extLst>
          </p:nvPr>
        </p:nvGraphicFramePr>
        <p:xfrm>
          <a:off x="323528" y="2807311"/>
          <a:ext cx="4474738" cy="17497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055206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 y="53752"/>
            <a:ext cx="9052560" cy="1143000"/>
          </a:xfrm>
        </p:spPr>
        <p:txBody>
          <a:bodyPr>
            <a:normAutofit fontScale="90000"/>
          </a:bodyPr>
          <a:lstStyle/>
          <a:p>
            <a:r>
              <a:rPr lang="en-GB" dirty="0" smtClean="0">
                <a:latin typeface="Gill Sans MT" pitchFamily="34" charset="0"/>
              </a:rPr>
              <a:t>Oracy skills framework – an introduction</a:t>
            </a:r>
            <a:endParaRPr lang="en-GB" dirty="0">
              <a:latin typeface="Gill Sans MT"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0456557"/>
              </p:ext>
            </p:extLst>
          </p:nvPr>
        </p:nvGraphicFramePr>
        <p:xfrm>
          <a:off x="45720" y="1326778"/>
          <a:ext cx="9052560" cy="17449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2362155859"/>
              </p:ext>
            </p:extLst>
          </p:nvPr>
        </p:nvGraphicFramePr>
        <p:xfrm>
          <a:off x="323528" y="3487018"/>
          <a:ext cx="8554550" cy="28623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extBox 6"/>
          <p:cNvSpPr txBox="1"/>
          <p:nvPr/>
        </p:nvSpPr>
        <p:spPr>
          <a:xfrm>
            <a:off x="323528" y="2966087"/>
            <a:ext cx="6840760" cy="461665"/>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2400" dirty="0" smtClean="0">
                <a:latin typeface="Gill Sans MT" pitchFamily="34" charset="0"/>
              </a:rPr>
              <a:t>We have divided oracy skills into four categories:</a:t>
            </a:r>
            <a:endParaRPr lang="en-GB" sz="2400" dirty="0">
              <a:latin typeface="Gill Sans MT" pitchFamily="34" charset="0"/>
            </a:endParaRPr>
          </a:p>
        </p:txBody>
      </p:sp>
    </p:spTree>
    <p:extLst>
      <p:ext uri="{BB962C8B-B14F-4D97-AF65-F5344CB8AC3E}">
        <p14:creationId xmlns:p14="http://schemas.microsoft.com/office/powerpoint/2010/main" val="3177832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3972133" y="44624"/>
            <a:ext cx="4344283" cy="208114"/>
          </a:xfrm>
          <a:prstGeom prst="rect">
            <a:avLst/>
          </a:prstGeom>
          <a:solidFill>
            <a:schemeClr val="bg1"/>
          </a:solidFill>
          <a:ln w="19050">
            <a:solidFill>
              <a:srgbClr val="8438BD"/>
            </a:solidFill>
          </a:ln>
        </p:spPr>
        <p:txBody>
          <a:bodyPr wrap="square" rtlCol="0" anchor="ctr">
            <a:spAutoFit/>
          </a:bodyPr>
          <a:lstStyle/>
          <a:p>
            <a:pPr fontAlgn="auto">
              <a:spcBef>
                <a:spcPts val="0"/>
              </a:spcBef>
              <a:spcAft>
                <a:spcPts val="0"/>
              </a:spcAft>
            </a:pPr>
            <a:r>
              <a:rPr lang="en-GB" sz="1200" b="1" dirty="0" smtClean="0">
                <a:solidFill>
                  <a:prstClr val="black"/>
                </a:solidFill>
                <a:latin typeface="Gill Sans MT" pitchFamily="34" charset="0"/>
                <a:cs typeface="Arial"/>
                <a:sym typeface="Arial"/>
                <a:rtl val="0"/>
              </a:rPr>
              <a:t>Exercise of all skills is always appropriate to context</a:t>
            </a:r>
            <a:endParaRPr lang="en-GB" sz="1200" b="1" dirty="0">
              <a:solidFill>
                <a:prstClr val="black"/>
              </a:solidFill>
              <a:latin typeface="Gill Sans MT" pitchFamily="34" charset="0"/>
              <a:cs typeface="Arial"/>
              <a:sym typeface="Arial"/>
              <a:rtl val="0"/>
            </a:endParaRPr>
          </a:p>
        </p:txBody>
      </p:sp>
      <p:sp>
        <p:nvSpPr>
          <p:cNvPr id="39" name="Freeform 38"/>
          <p:cNvSpPr/>
          <p:nvPr/>
        </p:nvSpPr>
        <p:spPr>
          <a:xfrm>
            <a:off x="179512" y="930400"/>
            <a:ext cx="2314327" cy="318428"/>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algn="ctr" defTabSz="889000" fontAlgn="auto">
              <a:lnSpc>
                <a:spcPct val="90000"/>
              </a:lnSpc>
              <a:spcAft>
                <a:spcPct val="35000"/>
              </a:spcAft>
            </a:pPr>
            <a:r>
              <a:rPr lang="en-GB" sz="2000" b="1" dirty="0" smtClean="0">
                <a:solidFill>
                  <a:prstClr val="white"/>
                </a:solidFill>
                <a:latin typeface="Gill Sans MT" pitchFamily="34" charset="0"/>
                <a:sym typeface="Arial"/>
                <a:rtl val="0"/>
              </a:rPr>
              <a:t>Physical</a:t>
            </a:r>
            <a:endParaRPr lang="en-GB" sz="2000" dirty="0">
              <a:solidFill>
                <a:prstClr val="white"/>
              </a:solidFill>
              <a:latin typeface="Gill Sans MT" pitchFamily="34" charset="0"/>
              <a:sym typeface="Arial"/>
              <a:rtl val="0"/>
            </a:endParaRPr>
          </a:p>
        </p:txBody>
      </p:sp>
      <p:sp>
        <p:nvSpPr>
          <p:cNvPr id="40" name="Freeform 39"/>
          <p:cNvSpPr/>
          <p:nvPr/>
        </p:nvSpPr>
        <p:spPr>
          <a:xfrm>
            <a:off x="2964200" y="620668"/>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dirty="0" smtClean="0">
                <a:solidFill>
                  <a:prstClr val="white"/>
                </a:solidFill>
                <a:latin typeface="Gill Sans MT" pitchFamily="34" charset="0"/>
                <a:sym typeface="Arial"/>
                <a:rtl val="0"/>
              </a:rPr>
              <a:t>Voice</a:t>
            </a:r>
            <a:endParaRPr lang="en-GB" sz="1400" dirty="0">
              <a:solidFill>
                <a:prstClr val="white"/>
              </a:solidFill>
              <a:latin typeface="Gill Sans MT" pitchFamily="34" charset="0"/>
              <a:sym typeface="Arial"/>
              <a:rtl val="0"/>
            </a:endParaRPr>
          </a:p>
        </p:txBody>
      </p:sp>
      <p:sp>
        <p:nvSpPr>
          <p:cNvPr id="41" name="Freeform 40"/>
          <p:cNvSpPr/>
          <p:nvPr/>
        </p:nvSpPr>
        <p:spPr>
          <a:xfrm>
            <a:off x="5516077" y="298472"/>
            <a:ext cx="2800338" cy="396014"/>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000" dirty="0" smtClean="0">
                <a:solidFill>
                  <a:prstClr val="white"/>
                </a:solidFill>
                <a:latin typeface="Gill Sans MT" pitchFamily="34" charset="0"/>
                <a:sym typeface="Arial"/>
                <a:rtl val="0"/>
              </a:rPr>
              <a:t>Prosodic features [‘the sound of intention’, pitch, tone, stress, etc.; these are necessarily related to meaning, e.g. in sarcasm]</a:t>
            </a:r>
            <a:endParaRPr lang="en-GB" sz="1000" dirty="0">
              <a:solidFill>
                <a:prstClr val="white"/>
              </a:solidFill>
              <a:latin typeface="Gill Sans MT" pitchFamily="34" charset="0"/>
              <a:sym typeface="Arial"/>
              <a:rtl val="0"/>
            </a:endParaRPr>
          </a:p>
        </p:txBody>
      </p:sp>
      <p:sp>
        <p:nvSpPr>
          <p:cNvPr id="42" name="Freeform 41"/>
          <p:cNvSpPr/>
          <p:nvPr/>
        </p:nvSpPr>
        <p:spPr>
          <a:xfrm>
            <a:off x="5516077" y="741560"/>
            <a:ext cx="2800338" cy="297639"/>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000" dirty="0" smtClean="0">
                <a:solidFill>
                  <a:prstClr val="white"/>
                </a:solidFill>
                <a:latin typeface="Gill Sans MT" pitchFamily="34" charset="0"/>
                <a:sym typeface="Arial"/>
                <a:rtl val="0"/>
              </a:rPr>
              <a:t>Production features  [making yourself heard, making sure people know which words  you’re saying] </a:t>
            </a:r>
            <a:endParaRPr lang="en-GB" sz="1000" dirty="0">
              <a:solidFill>
                <a:prstClr val="white"/>
              </a:solidFill>
              <a:latin typeface="Gill Sans MT" pitchFamily="34" charset="0"/>
              <a:sym typeface="Arial"/>
              <a:rtl val="0"/>
            </a:endParaRPr>
          </a:p>
        </p:txBody>
      </p:sp>
      <p:sp>
        <p:nvSpPr>
          <p:cNvPr id="43" name="Freeform 42"/>
          <p:cNvSpPr/>
          <p:nvPr/>
        </p:nvSpPr>
        <p:spPr>
          <a:xfrm>
            <a:off x="2964200" y="1197193"/>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smtClean="0">
                <a:solidFill>
                  <a:prstClr val="white"/>
                </a:solidFill>
                <a:latin typeface="Gill Sans MT" pitchFamily="34" charset="0"/>
                <a:sym typeface="Arial"/>
                <a:rtl val="0"/>
              </a:rPr>
              <a:t>Body</a:t>
            </a:r>
            <a:endParaRPr lang="en-GB" sz="1400">
              <a:solidFill>
                <a:prstClr val="white"/>
              </a:solidFill>
              <a:latin typeface="Gill Sans MT" pitchFamily="34" charset="0"/>
              <a:sym typeface="Arial"/>
              <a:rtl val="0"/>
            </a:endParaRPr>
          </a:p>
        </p:txBody>
      </p:sp>
      <p:sp>
        <p:nvSpPr>
          <p:cNvPr id="44" name="Freeform 43"/>
          <p:cNvSpPr/>
          <p:nvPr/>
        </p:nvSpPr>
        <p:spPr>
          <a:xfrm>
            <a:off x="5516077" y="1089353"/>
            <a:ext cx="2800338" cy="204465"/>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050" dirty="0" smtClean="0">
                <a:solidFill>
                  <a:prstClr val="white"/>
                </a:solidFill>
                <a:latin typeface="Gill Sans MT" pitchFamily="34" charset="0"/>
                <a:sym typeface="Arial"/>
                <a:rtl val="0"/>
              </a:rPr>
              <a:t>Gesture [meaning as movement]</a:t>
            </a:r>
            <a:endParaRPr lang="en-GB" sz="1050" dirty="0">
              <a:solidFill>
                <a:prstClr val="white"/>
              </a:solidFill>
              <a:latin typeface="Gill Sans MT" pitchFamily="34" charset="0"/>
              <a:sym typeface="Arial"/>
              <a:rtl val="0"/>
            </a:endParaRPr>
          </a:p>
        </p:txBody>
      </p:sp>
      <p:sp>
        <p:nvSpPr>
          <p:cNvPr id="45" name="Freeform 44"/>
          <p:cNvSpPr/>
          <p:nvPr/>
        </p:nvSpPr>
        <p:spPr>
          <a:xfrm>
            <a:off x="5516077" y="1361774"/>
            <a:ext cx="2800338" cy="32929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050" dirty="0" smtClean="0">
                <a:solidFill>
                  <a:prstClr val="white"/>
                </a:solidFill>
                <a:latin typeface="Gill Sans MT" pitchFamily="34" charset="0"/>
                <a:sym typeface="Arial"/>
                <a:rtl val="0"/>
              </a:rPr>
              <a:t>Posture [preventing your movements from interfering with what you’re trying to say]</a:t>
            </a:r>
            <a:endParaRPr lang="en-GB" sz="1050" dirty="0">
              <a:solidFill>
                <a:prstClr val="white"/>
              </a:solidFill>
              <a:latin typeface="Gill Sans MT" pitchFamily="34" charset="0"/>
              <a:sym typeface="Arial"/>
              <a:rtl val="0"/>
            </a:endParaRPr>
          </a:p>
        </p:txBody>
      </p:sp>
      <p:sp>
        <p:nvSpPr>
          <p:cNvPr id="46" name="Freeform 45"/>
          <p:cNvSpPr/>
          <p:nvPr/>
        </p:nvSpPr>
        <p:spPr>
          <a:xfrm>
            <a:off x="179512" y="2011385"/>
            <a:ext cx="2314327" cy="304017"/>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algn="ctr" defTabSz="889000" fontAlgn="auto">
              <a:lnSpc>
                <a:spcPct val="90000"/>
              </a:lnSpc>
              <a:spcAft>
                <a:spcPct val="35000"/>
              </a:spcAft>
            </a:pPr>
            <a:r>
              <a:rPr lang="en-GB" sz="2000" b="1" dirty="0" smtClean="0">
                <a:solidFill>
                  <a:prstClr val="white"/>
                </a:solidFill>
                <a:latin typeface="Gill Sans MT" pitchFamily="34" charset="0"/>
                <a:sym typeface="Arial"/>
                <a:rtl val="0"/>
              </a:rPr>
              <a:t>Linguistic</a:t>
            </a:r>
            <a:endParaRPr lang="en-GB" sz="2000" dirty="0">
              <a:solidFill>
                <a:prstClr val="white"/>
              </a:solidFill>
              <a:latin typeface="Gill Sans MT" pitchFamily="34" charset="0"/>
              <a:sym typeface="Arial"/>
              <a:rtl val="0"/>
            </a:endParaRPr>
          </a:p>
        </p:txBody>
      </p:sp>
      <p:sp>
        <p:nvSpPr>
          <p:cNvPr id="47" name="Freeform 46"/>
          <p:cNvSpPr/>
          <p:nvPr/>
        </p:nvSpPr>
        <p:spPr>
          <a:xfrm>
            <a:off x="2964200" y="1664774"/>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dirty="0" smtClean="0">
                <a:solidFill>
                  <a:prstClr val="white"/>
                </a:solidFill>
                <a:latin typeface="Gill Sans MT" pitchFamily="34" charset="0"/>
                <a:sym typeface="Arial"/>
                <a:rtl val="0"/>
              </a:rPr>
              <a:t>Knowledge of vocabulary</a:t>
            </a:r>
            <a:endParaRPr lang="en-GB" sz="1400" dirty="0">
              <a:solidFill>
                <a:prstClr val="white"/>
              </a:solidFill>
              <a:latin typeface="Gill Sans MT" pitchFamily="34" charset="0"/>
              <a:sym typeface="Arial"/>
              <a:rtl val="0"/>
            </a:endParaRPr>
          </a:p>
        </p:txBody>
      </p:sp>
      <p:sp>
        <p:nvSpPr>
          <p:cNvPr id="48" name="Freeform 47"/>
          <p:cNvSpPr/>
          <p:nvPr/>
        </p:nvSpPr>
        <p:spPr>
          <a:xfrm>
            <a:off x="2964200" y="2065443"/>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dirty="0" smtClean="0">
                <a:solidFill>
                  <a:prstClr val="white"/>
                </a:solidFill>
                <a:latin typeface="Gill Sans MT" pitchFamily="34" charset="0"/>
                <a:sym typeface="Arial"/>
                <a:rtl val="0"/>
              </a:rPr>
              <a:t>Use</a:t>
            </a:r>
            <a:endParaRPr lang="en-GB" sz="1400" dirty="0">
              <a:solidFill>
                <a:prstClr val="white"/>
              </a:solidFill>
              <a:latin typeface="Gill Sans MT" pitchFamily="34" charset="0"/>
              <a:sym typeface="Arial"/>
              <a:rtl val="0"/>
            </a:endParaRPr>
          </a:p>
        </p:txBody>
      </p:sp>
      <p:sp>
        <p:nvSpPr>
          <p:cNvPr id="49" name="Freeform 48"/>
          <p:cNvSpPr/>
          <p:nvPr/>
        </p:nvSpPr>
        <p:spPr>
          <a:xfrm>
            <a:off x="5516077" y="1821256"/>
            <a:ext cx="2800338" cy="204465"/>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000" smtClean="0">
                <a:solidFill>
                  <a:prstClr val="white"/>
                </a:solidFill>
                <a:latin typeface="Gill Sans MT" pitchFamily="34" charset="0"/>
                <a:sym typeface="Arial"/>
                <a:rtl val="0"/>
              </a:rPr>
              <a:t>Choice of vocabulary</a:t>
            </a:r>
            <a:endParaRPr lang="en-GB" sz="1000">
              <a:solidFill>
                <a:prstClr val="white"/>
              </a:solidFill>
              <a:latin typeface="Gill Sans MT" pitchFamily="34" charset="0"/>
              <a:sym typeface="Arial"/>
              <a:rtl val="0"/>
            </a:endParaRPr>
          </a:p>
        </p:txBody>
      </p:sp>
      <p:sp>
        <p:nvSpPr>
          <p:cNvPr id="50" name="Freeform 49"/>
          <p:cNvSpPr/>
          <p:nvPr/>
        </p:nvSpPr>
        <p:spPr>
          <a:xfrm>
            <a:off x="5516077" y="2109519"/>
            <a:ext cx="2800338" cy="204465"/>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000" smtClean="0">
                <a:solidFill>
                  <a:prstClr val="white"/>
                </a:solidFill>
                <a:latin typeface="Gill Sans MT" pitchFamily="34" charset="0"/>
                <a:sym typeface="Arial"/>
                <a:rtl val="0"/>
              </a:rPr>
              <a:t>Choice of phrasing, grammar</a:t>
            </a:r>
            <a:endParaRPr lang="en-GB" sz="1000">
              <a:solidFill>
                <a:prstClr val="white"/>
              </a:solidFill>
              <a:latin typeface="Gill Sans MT" pitchFamily="34" charset="0"/>
              <a:sym typeface="Arial"/>
              <a:rtl val="0"/>
            </a:endParaRPr>
          </a:p>
        </p:txBody>
      </p:sp>
      <p:sp>
        <p:nvSpPr>
          <p:cNvPr id="51" name="Freeform 50"/>
          <p:cNvSpPr/>
          <p:nvPr/>
        </p:nvSpPr>
        <p:spPr>
          <a:xfrm>
            <a:off x="2964200" y="2494376"/>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smtClean="0">
                <a:solidFill>
                  <a:prstClr val="white"/>
                </a:solidFill>
                <a:latin typeface="Gill Sans MT" pitchFamily="34" charset="0"/>
                <a:sym typeface="Arial"/>
                <a:rtl val="0"/>
              </a:rPr>
              <a:t>Form</a:t>
            </a:r>
            <a:endParaRPr lang="en-GB" sz="1400">
              <a:solidFill>
                <a:prstClr val="white"/>
              </a:solidFill>
              <a:latin typeface="Gill Sans MT" pitchFamily="34" charset="0"/>
              <a:sym typeface="Arial"/>
              <a:rtl val="0"/>
            </a:endParaRPr>
          </a:p>
        </p:txBody>
      </p:sp>
      <p:sp>
        <p:nvSpPr>
          <p:cNvPr id="52" name="Freeform 51"/>
          <p:cNvSpPr/>
          <p:nvPr/>
        </p:nvSpPr>
        <p:spPr>
          <a:xfrm>
            <a:off x="5295735" y="2496478"/>
            <a:ext cx="892274" cy="530329"/>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050" dirty="0" smtClean="0">
                <a:solidFill>
                  <a:prstClr val="white"/>
                </a:solidFill>
                <a:latin typeface="Gill Sans MT" pitchFamily="34" charset="0"/>
                <a:sym typeface="Arial"/>
                <a:rtl val="0"/>
              </a:rPr>
              <a:t>Adaptation to purpose of</a:t>
            </a:r>
            <a:endParaRPr lang="en-GB" sz="1050" dirty="0">
              <a:solidFill>
                <a:prstClr val="white"/>
              </a:solidFill>
              <a:latin typeface="Gill Sans MT" pitchFamily="34" charset="0"/>
              <a:sym typeface="Arial"/>
              <a:rtl val="0"/>
            </a:endParaRPr>
          </a:p>
        </p:txBody>
      </p:sp>
      <p:sp>
        <p:nvSpPr>
          <p:cNvPr id="53" name="Freeform 52"/>
          <p:cNvSpPr/>
          <p:nvPr/>
        </p:nvSpPr>
        <p:spPr>
          <a:xfrm>
            <a:off x="6444208" y="2361142"/>
            <a:ext cx="2545758" cy="36222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000" dirty="0" smtClean="0">
                <a:solidFill>
                  <a:prstClr val="white"/>
                </a:solidFill>
                <a:latin typeface="Gill Sans MT" pitchFamily="34" charset="0"/>
                <a:sym typeface="Arial"/>
                <a:rtl val="0"/>
              </a:rPr>
              <a:t>Simple conventional phrases and speech-acts: greetings, thank-</a:t>
            </a:r>
            <a:r>
              <a:rPr lang="en-GB" sz="1000" dirty="0" err="1" smtClean="0">
                <a:solidFill>
                  <a:prstClr val="white"/>
                </a:solidFill>
                <a:latin typeface="Gill Sans MT" pitchFamily="34" charset="0"/>
                <a:sym typeface="Arial"/>
                <a:rtl val="0"/>
              </a:rPr>
              <a:t>yous</a:t>
            </a:r>
            <a:r>
              <a:rPr lang="en-GB" sz="1000" dirty="0" smtClean="0">
                <a:solidFill>
                  <a:prstClr val="white"/>
                </a:solidFill>
                <a:latin typeface="Gill Sans MT" pitchFamily="34" charset="0"/>
                <a:sym typeface="Arial"/>
                <a:rtl val="0"/>
              </a:rPr>
              <a:t>, etc.</a:t>
            </a:r>
            <a:endParaRPr lang="en-GB" sz="1000" dirty="0">
              <a:solidFill>
                <a:prstClr val="white"/>
              </a:solidFill>
              <a:latin typeface="Gill Sans MT" pitchFamily="34" charset="0"/>
              <a:sym typeface="Arial"/>
              <a:rtl val="0"/>
            </a:endParaRPr>
          </a:p>
        </p:txBody>
      </p:sp>
      <p:sp>
        <p:nvSpPr>
          <p:cNvPr id="54" name="Freeform 53"/>
          <p:cNvSpPr/>
          <p:nvPr/>
        </p:nvSpPr>
        <p:spPr>
          <a:xfrm>
            <a:off x="6444208" y="2777384"/>
            <a:ext cx="2545758" cy="36222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000" dirty="0" smtClean="0">
                <a:solidFill>
                  <a:prstClr val="white"/>
                </a:solidFill>
                <a:latin typeface="Gill Sans MT" pitchFamily="34" charset="0"/>
                <a:sym typeface="Arial"/>
                <a:rtl val="0"/>
              </a:rPr>
              <a:t>Complex conventional genres e.g. fairy-tales, newspaper articles, scientific reports etc.</a:t>
            </a:r>
            <a:endParaRPr lang="en-GB" sz="1000" dirty="0">
              <a:solidFill>
                <a:prstClr val="white"/>
              </a:solidFill>
              <a:latin typeface="Gill Sans MT" pitchFamily="34" charset="0"/>
              <a:sym typeface="Arial"/>
              <a:rtl val="0"/>
            </a:endParaRPr>
          </a:p>
        </p:txBody>
      </p:sp>
      <p:sp>
        <p:nvSpPr>
          <p:cNvPr id="55" name="Freeform 54"/>
          <p:cNvSpPr/>
          <p:nvPr/>
        </p:nvSpPr>
        <p:spPr>
          <a:xfrm>
            <a:off x="179512" y="3991626"/>
            <a:ext cx="2314327" cy="350105"/>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algn="ctr" defTabSz="889000" fontAlgn="auto">
              <a:lnSpc>
                <a:spcPct val="90000"/>
              </a:lnSpc>
              <a:spcAft>
                <a:spcPct val="35000"/>
              </a:spcAft>
            </a:pPr>
            <a:r>
              <a:rPr lang="en-GB" sz="2000" b="1" dirty="0" smtClean="0">
                <a:solidFill>
                  <a:prstClr val="white"/>
                </a:solidFill>
                <a:latin typeface="Gill Sans MT" pitchFamily="34" charset="0"/>
                <a:sym typeface="Arial"/>
                <a:rtl val="0"/>
              </a:rPr>
              <a:t>Cognitive</a:t>
            </a:r>
            <a:endParaRPr lang="en-GB" sz="2000" dirty="0">
              <a:solidFill>
                <a:prstClr val="white"/>
              </a:solidFill>
              <a:latin typeface="Gill Sans MT" pitchFamily="34" charset="0"/>
              <a:sym typeface="Arial"/>
              <a:rtl val="0"/>
            </a:endParaRPr>
          </a:p>
        </p:txBody>
      </p:sp>
      <p:sp>
        <p:nvSpPr>
          <p:cNvPr id="56" name="Freeform 55"/>
          <p:cNvSpPr/>
          <p:nvPr/>
        </p:nvSpPr>
        <p:spPr>
          <a:xfrm>
            <a:off x="2964200" y="3350502"/>
            <a:ext cx="2103935" cy="58336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dirty="0" smtClean="0">
                <a:solidFill>
                  <a:prstClr val="white"/>
                </a:solidFill>
                <a:latin typeface="Gill Sans MT" pitchFamily="34" charset="0"/>
                <a:sym typeface="Arial"/>
                <a:rtl val="0"/>
              </a:rPr>
              <a:t>Choice and organisation of content</a:t>
            </a:r>
            <a:endParaRPr lang="en-GB" sz="1400" dirty="0">
              <a:solidFill>
                <a:prstClr val="white"/>
              </a:solidFill>
              <a:latin typeface="Gill Sans MT" pitchFamily="34" charset="0"/>
              <a:sym typeface="Arial"/>
              <a:rtl val="0"/>
            </a:endParaRPr>
          </a:p>
        </p:txBody>
      </p:sp>
      <p:sp>
        <p:nvSpPr>
          <p:cNvPr id="57" name="Freeform 56"/>
          <p:cNvSpPr/>
          <p:nvPr/>
        </p:nvSpPr>
        <p:spPr>
          <a:xfrm>
            <a:off x="5516077" y="3237524"/>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dirty="0" smtClean="0">
                <a:solidFill>
                  <a:prstClr val="white"/>
                </a:solidFill>
                <a:latin typeface="Gill Sans MT" pitchFamily="34" charset="0"/>
                <a:sym typeface="Arial"/>
                <a:rtl val="0"/>
              </a:rPr>
              <a:t>Structure</a:t>
            </a:r>
            <a:endParaRPr lang="en-GB" sz="1100" dirty="0">
              <a:solidFill>
                <a:prstClr val="white"/>
              </a:solidFill>
              <a:latin typeface="Gill Sans MT" pitchFamily="34" charset="0"/>
              <a:sym typeface="Arial"/>
              <a:rtl val="0"/>
            </a:endParaRPr>
          </a:p>
        </p:txBody>
      </p:sp>
      <p:sp>
        <p:nvSpPr>
          <p:cNvPr id="58" name="Freeform 57"/>
          <p:cNvSpPr/>
          <p:nvPr/>
        </p:nvSpPr>
        <p:spPr>
          <a:xfrm>
            <a:off x="5516077" y="3525786"/>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smtClean="0">
                <a:solidFill>
                  <a:prstClr val="white"/>
                </a:solidFill>
                <a:latin typeface="Gill Sans MT" pitchFamily="34" charset="0"/>
                <a:sym typeface="Arial"/>
                <a:rtl val="0"/>
              </a:rPr>
              <a:t>Theory of mind</a:t>
            </a:r>
            <a:endParaRPr lang="en-GB" sz="1100">
              <a:solidFill>
                <a:prstClr val="white"/>
              </a:solidFill>
              <a:latin typeface="Gill Sans MT" pitchFamily="34" charset="0"/>
              <a:sym typeface="Arial"/>
              <a:rtl val="0"/>
            </a:endParaRPr>
          </a:p>
        </p:txBody>
      </p:sp>
      <p:sp>
        <p:nvSpPr>
          <p:cNvPr id="59" name="Freeform 58"/>
          <p:cNvSpPr/>
          <p:nvPr/>
        </p:nvSpPr>
        <p:spPr>
          <a:xfrm>
            <a:off x="5516077" y="3814049"/>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dirty="0" smtClean="0">
                <a:solidFill>
                  <a:prstClr val="white"/>
                </a:solidFill>
                <a:latin typeface="Gill Sans MT" pitchFamily="34" charset="0"/>
                <a:sym typeface="Arial"/>
                <a:rtl val="0"/>
              </a:rPr>
              <a:t>Rhetoric </a:t>
            </a:r>
            <a:endParaRPr lang="en-GB" sz="1100" dirty="0">
              <a:solidFill>
                <a:prstClr val="white"/>
              </a:solidFill>
              <a:latin typeface="Gill Sans MT" pitchFamily="34" charset="0"/>
              <a:sym typeface="Arial"/>
              <a:rtl val="0"/>
            </a:endParaRPr>
          </a:p>
        </p:txBody>
      </p:sp>
      <p:sp>
        <p:nvSpPr>
          <p:cNvPr id="60" name="Freeform 59"/>
          <p:cNvSpPr/>
          <p:nvPr/>
        </p:nvSpPr>
        <p:spPr>
          <a:xfrm>
            <a:off x="2964200" y="4187863"/>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smtClean="0">
                <a:solidFill>
                  <a:prstClr val="white"/>
                </a:solidFill>
                <a:latin typeface="Gill Sans MT" pitchFamily="34" charset="0"/>
                <a:sym typeface="Arial"/>
                <a:rtl val="0"/>
              </a:rPr>
              <a:t>Reasoning</a:t>
            </a:r>
            <a:endParaRPr lang="en-GB" sz="1400">
              <a:solidFill>
                <a:prstClr val="white"/>
              </a:solidFill>
              <a:latin typeface="Gill Sans MT" pitchFamily="34" charset="0"/>
              <a:sym typeface="Arial"/>
              <a:rtl val="0"/>
            </a:endParaRPr>
          </a:p>
        </p:txBody>
      </p:sp>
      <p:sp>
        <p:nvSpPr>
          <p:cNvPr id="61" name="Freeform 60"/>
          <p:cNvSpPr/>
          <p:nvPr/>
        </p:nvSpPr>
        <p:spPr>
          <a:xfrm>
            <a:off x="5516077" y="4210354"/>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dirty="0" smtClean="0">
                <a:solidFill>
                  <a:prstClr val="white"/>
                </a:solidFill>
                <a:latin typeface="Gill Sans MT" pitchFamily="34" charset="0"/>
                <a:sym typeface="Arial"/>
                <a:rtl val="0"/>
              </a:rPr>
              <a:t>Argument</a:t>
            </a:r>
            <a:endParaRPr lang="en-GB" sz="1100" dirty="0">
              <a:solidFill>
                <a:prstClr val="white"/>
              </a:solidFill>
              <a:latin typeface="Gill Sans MT" pitchFamily="34" charset="0"/>
              <a:sym typeface="Arial"/>
              <a:rtl val="0"/>
            </a:endParaRPr>
          </a:p>
        </p:txBody>
      </p:sp>
      <p:sp>
        <p:nvSpPr>
          <p:cNvPr id="62" name="Freeform 61"/>
          <p:cNvSpPr/>
          <p:nvPr/>
        </p:nvSpPr>
        <p:spPr>
          <a:xfrm>
            <a:off x="5516077" y="4498616"/>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smtClean="0">
                <a:solidFill>
                  <a:prstClr val="white"/>
                </a:solidFill>
                <a:latin typeface="Gill Sans MT" pitchFamily="34" charset="0"/>
                <a:sym typeface="Arial"/>
                <a:rtl val="0"/>
              </a:rPr>
              <a:t>Critical examination of ideas and views</a:t>
            </a:r>
            <a:endParaRPr lang="en-GB" sz="1100">
              <a:solidFill>
                <a:prstClr val="white"/>
              </a:solidFill>
              <a:latin typeface="Gill Sans MT" pitchFamily="34" charset="0"/>
              <a:sym typeface="Arial"/>
              <a:rtl val="0"/>
            </a:endParaRPr>
          </a:p>
        </p:txBody>
      </p:sp>
      <p:sp>
        <p:nvSpPr>
          <p:cNvPr id="63" name="Freeform 62"/>
          <p:cNvSpPr/>
          <p:nvPr/>
        </p:nvSpPr>
        <p:spPr>
          <a:xfrm>
            <a:off x="2964200" y="4549749"/>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dirty="0" smtClean="0">
                <a:solidFill>
                  <a:prstClr val="white"/>
                </a:solidFill>
                <a:latin typeface="Gill Sans MT" pitchFamily="34" charset="0"/>
                <a:sym typeface="Arial"/>
                <a:rtl val="0"/>
              </a:rPr>
              <a:t>Questioning </a:t>
            </a:r>
            <a:endParaRPr lang="en-GB" sz="1400" dirty="0">
              <a:solidFill>
                <a:prstClr val="white"/>
              </a:solidFill>
              <a:latin typeface="Gill Sans MT" pitchFamily="34" charset="0"/>
              <a:sym typeface="Arial"/>
              <a:rtl val="0"/>
            </a:endParaRPr>
          </a:p>
        </p:txBody>
      </p:sp>
      <p:sp>
        <p:nvSpPr>
          <p:cNvPr id="64" name="Freeform 63"/>
          <p:cNvSpPr/>
          <p:nvPr/>
        </p:nvSpPr>
        <p:spPr>
          <a:xfrm>
            <a:off x="2964200" y="5053805"/>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smtClean="0">
                <a:solidFill>
                  <a:prstClr val="white"/>
                </a:solidFill>
                <a:latin typeface="Gill Sans MT" pitchFamily="34" charset="0"/>
                <a:sym typeface="Arial"/>
                <a:rtl val="0"/>
              </a:rPr>
              <a:t>Focus</a:t>
            </a:r>
            <a:endParaRPr lang="en-GB" sz="1400">
              <a:solidFill>
                <a:prstClr val="white"/>
              </a:solidFill>
              <a:latin typeface="Gill Sans MT" pitchFamily="34" charset="0"/>
              <a:sym typeface="Arial"/>
              <a:rtl val="0"/>
            </a:endParaRPr>
          </a:p>
        </p:txBody>
      </p:sp>
      <p:sp>
        <p:nvSpPr>
          <p:cNvPr id="65" name="Freeform 64"/>
          <p:cNvSpPr/>
          <p:nvPr/>
        </p:nvSpPr>
        <p:spPr>
          <a:xfrm>
            <a:off x="5516078" y="4860041"/>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dirty="0" smtClean="0">
                <a:solidFill>
                  <a:prstClr val="white"/>
                </a:solidFill>
                <a:latin typeface="Gill Sans MT" pitchFamily="34" charset="0"/>
                <a:sym typeface="Arial"/>
                <a:rtl val="0"/>
              </a:rPr>
              <a:t>as to timings</a:t>
            </a:r>
            <a:endParaRPr lang="en-GB" sz="1100" dirty="0">
              <a:solidFill>
                <a:prstClr val="white"/>
              </a:solidFill>
              <a:latin typeface="Gill Sans MT" pitchFamily="34" charset="0"/>
              <a:sym typeface="Arial"/>
              <a:rtl val="0"/>
            </a:endParaRPr>
          </a:p>
        </p:txBody>
      </p:sp>
      <p:sp>
        <p:nvSpPr>
          <p:cNvPr id="66" name="Freeform 65"/>
          <p:cNvSpPr/>
          <p:nvPr/>
        </p:nvSpPr>
        <p:spPr>
          <a:xfrm>
            <a:off x="5516078" y="5148304"/>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smtClean="0">
                <a:solidFill>
                  <a:prstClr val="white"/>
                </a:solidFill>
                <a:latin typeface="Gill Sans MT" pitchFamily="34" charset="0"/>
                <a:sym typeface="Arial"/>
                <a:rtl val="0"/>
              </a:rPr>
              <a:t>as to task</a:t>
            </a:r>
            <a:endParaRPr lang="en-GB" sz="1100">
              <a:solidFill>
                <a:prstClr val="white"/>
              </a:solidFill>
              <a:latin typeface="Gill Sans MT" pitchFamily="34" charset="0"/>
              <a:sym typeface="Arial"/>
              <a:rtl val="0"/>
            </a:endParaRPr>
          </a:p>
        </p:txBody>
      </p:sp>
      <p:sp>
        <p:nvSpPr>
          <p:cNvPr id="67" name="Freeform 66"/>
          <p:cNvSpPr/>
          <p:nvPr/>
        </p:nvSpPr>
        <p:spPr>
          <a:xfrm>
            <a:off x="179512" y="5911424"/>
            <a:ext cx="2314327" cy="304016"/>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algn="ctr" defTabSz="889000" fontAlgn="auto">
              <a:lnSpc>
                <a:spcPct val="90000"/>
              </a:lnSpc>
              <a:spcAft>
                <a:spcPct val="35000"/>
              </a:spcAft>
            </a:pPr>
            <a:r>
              <a:rPr lang="en-GB" sz="2000" b="1" dirty="0" smtClean="0">
                <a:solidFill>
                  <a:prstClr val="white"/>
                </a:solidFill>
                <a:latin typeface="Gill Sans MT" pitchFamily="34" charset="0"/>
                <a:sym typeface="Arial"/>
                <a:rtl val="0"/>
              </a:rPr>
              <a:t>Social</a:t>
            </a:r>
            <a:endParaRPr lang="en-GB" sz="2000" dirty="0">
              <a:solidFill>
                <a:prstClr val="white"/>
              </a:solidFill>
              <a:latin typeface="Gill Sans MT" pitchFamily="34" charset="0"/>
              <a:sym typeface="Arial"/>
              <a:rtl val="0"/>
            </a:endParaRPr>
          </a:p>
        </p:txBody>
      </p:sp>
      <p:sp>
        <p:nvSpPr>
          <p:cNvPr id="68" name="Freeform 67"/>
          <p:cNvSpPr/>
          <p:nvPr/>
        </p:nvSpPr>
        <p:spPr>
          <a:xfrm>
            <a:off x="2964200" y="5557861"/>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smtClean="0">
                <a:solidFill>
                  <a:prstClr val="white"/>
                </a:solidFill>
                <a:latin typeface="Gill Sans MT" pitchFamily="34" charset="0"/>
                <a:sym typeface="Arial"/>
                <a:rtl val="0"/>
              </a:rPr>
              <a:t>Awareness</a:t>
            </a:r>
            <a:endParaRPr lang="en-GB" sz="1400">
              <a:solidFill>
                <a:prstClr val="white"/>
              </a:solidFill>
              <a:latin typeface="Gill Sans MT" pitchFamily="34" charset="0"/>
              <a:sym typeface="Arial"/>
              <a:rtl val="0"/>
            </a:endParaRPr>
          </a:p>
        </p:txBody>
      </p:sp>
      <p:sp>
        <p:nvSpPr>
          <p:cNvPr id="69" name="Freeform 68"/>
          <p:cNvSpPr/>
          <p:nvPr/>
        </p:nvSpPr>
        <p:spPr>
          <a:xfrm>
            <a:off x="5516077" y="5448865"/>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dirty="0" smtClean="0">
                <a:solidFill>
                  <a:prstClr val="white"/>
                </a:solidFill>
                <a:latin typeface="Gill Sans MT" pitchFamily="34" charset="0"/>
                <a:sym typeface="Arial"/>
                <a:rtl val="0"/>
              </a:rPr>
              <a:t>Recapitulation and summarising</a:t>
            </a:r>
            <a:endParaRPr lang="en-GB" sz="1100" dirty="0">
              <a:solidFill>
                <a:prstClr val="white"/>
              </a:solidFill>
              <a:latin typeface="Gill Sans MT" pitchFamily="34" charset="0"/>
              <a:sym typeface="Arial"/>
              <a:rtl val="0"/>
            </a:endParaRPr>
          </a:p>
        </p:txBody>
      </p:sp>
      <p:sp>
        <p:nvSpPr>
          <p:cNvPr id="70" name="Freeform 69"/>
          <p:cNvSpPr/>
          <p:nvPr/>
        </p:nvSpPr>
        <p:spPr>
          <a:xfrm>
            <a:off x="5516077" y="5737127"/>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dirty="0" smtClean="0">
                <a:solidFill>
                  <a:prstClr val="white"/>
                </a:solidFill>
                <a:latin typeface="Gill Sans MT" pitchFamily="34" charset="0"/>
                <a:sym typeface="Arial"/>
                <a:rtl val="0"/>
              </a:rPr>
              <a:t>Turn-taking and repair</a:t>
            </a:r>
            <a:endParaRPr lang="en-GB" sz="1100" dirty="0">
              <a:solidFill>
                <a:prstClr val="white"/>
              </a:solidFill>
              <a:latin typeface="Gill Sans MT" pitchFamily="34" charset="0"/>
              <a:sym typeface="Arial"/>
              <a:rtl val="0"/>
            </a:endParaRPr>
          </a:p>
        </p:txBody>
      </p:sp>
      <p:sp>
        <p:nvSpPr>
          <p:cNvPr id="71" name="Freeform 70"/>
          <p:cNvSpPr/>
          <p:nvPr/>
        </p:nvSpPr>
        <p:spPr>
          <a:xfrm>
            <a:off x="5516077" y="6025390"/>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smtClean="0">
                <a:solidFill>
                  <a:prstClr val="white"/>
                </a:solidFill>
                <a:latin typeface="Gill Sans MT" pitchFamily="34" charset="0"/>
                <a:sym typeface="Arial"/>
                <a:rtl val="0"/>
              </a:rPr>
              <a:t>Observation of ground-rules</a:t>
            </a:r>
            <a:endParaRPr lang="en-GB" sz="1100">
              <a:solidFill>
                <a:prstClr val="white"/>
              </a:solidFill>
              <a:latin typeface="Gill Sans MT" pitchFamily="34" charset="0"/>
              <a:sym typeface="Arial"/>
              <a:rtl val="0"/>
            </a:endParaRPr>
          </a:p>
        </p:txBody>
      </p:sp>
      <p:sp>
        <p:nvSpPr>
          <p:cNvPr id="72" name="Freeform 71"/>
          <p:cNvSpPr/>
          <p:nvPr/>
        </p:nvSpPr>
        <p:spPr>
          <a:xfrm>
            <a:off x="2964200" y="6017775"/>
            <a:ext cx="2103935" cy="398444"/>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dirty="0" smtClean="0">
                <a:solidFill>
                  <a:prstClr val="white"/>
                </a:solidFill>
                <a:latin typeface="Gill Sans MT" pitchFamily="34" charset="0"/>
                <a:sym typeface="Arial"/>
                <a:rtl val="0"/>
              </a:rPr>
              <a:t>Listening and Responsiveness</a:t>
            </a:r>
            <a:endParaRPr lang="en-GB" sz="1400" dirty="0">
              <a:solidFill>
                <a:prstClr val="white"/>
              </a:solidFill>
              <a:latin typeface="Gill Sans MT" pitchFamily="34" charset="0"/>
              <a:sym typeface="Arial"/>
              <a:rtl val="0"/>
            </a:endParaRPr>
          </a:p>
        </p:txBody>
      </p:sp>
      <p:sp>
        <p:nvSpPr>
          <p:cNvPr id="73" name="Freeform 72"/>
          <p:cNvSpPr/>
          <p:nvPr/>
        </p:nvSpPr>
        <p:spPr>
          <a:xfrm>
            <a:off x="5516077" y="6313653"/>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smtClean="0">
                <a:solidFill>
                  <a:prstClr val="white"/>
                </a:solidFill>
                <a:latin typeface="Gill Sans MT" pitchFamily="34" charset="0"/>
                <a:sym typeface="Arial"/>
                <a:rtl val="0"/>
              </a:rPr>
              <a:t>Constructive approach to the views of others</a:t>
            </a:r>
            <a:endParaRPr lang="en-GB" sz="1100">
              <a:solidFill>
                <a:prstClr val="white"/>
              </a:solidFill>
              <a:latin typeface="Gill Sans MT" pitchFamily="34" charset="0"/>
              <a:sym typeface="Arial"/>
              <a:rtl val="0"/>
            </a:endParaRPr>
          </a:p>
        </p:txBody>
      </p:sp>
      <p:sp>
        <p:nvSpPr>
          <p:cNvPr id="74" name="Freeform 73"/>
          <p:cNvSpPr/>
          <p:nvPr/>
        </p:nvSpPr>
        <p:spPr>
          <a:xfrm>
            <a:off x="5516077" y="6601916"/>
            <a:ext cx="2800338" cy="224912"/>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100" smtClean="0">
                <a:solidFill>
                  <a:prstClr val="white"/>
                </a:solidFill>
                <a:latin typeface="Gill Sans MT" pitchFamily="34" charset="0"/>
                <a:sym typeface="Arial"/>
                <a:rtl val="0"/>
              </a:rPr>
              <a:t>Willingness to listen</a:t>
            </a:r>
            <a:endParaRPr lang="en-GB" sz="1100">
              <a:solidFill>
                <a:prstClr val="white"/>
              </a:solidFill>
              <a:latin typeface="Gill Sans MT" pitchFamily="34" charset="0"/>
              <a:sym typeface="Arial"/>
              <a:rtl val="0"/>
            </a:endParaRPr>
          </a:p>
        </p:txBody>
      </p:sp>
      <p:sp>
        <p:nvSpPr>
          <p:cNvPr id="75" name="Freeform 74"/>
          <p:cNvSpPr/>
          <p:nvPr/>
        </p:nvSpPr>
        <p:spPr>
          <a:xfrm>
            <a:off x="2964200" y="6493965"/>
            <a:ext cx="2103935" cy="247403"/>
          </a:xfrm>
          <a:custGeom>
            <a:avLst/>
            <a:gdLst>
              <a:gd name="connsiteX0" fmla="*/ 0 w 737416"/>
              <a:gd name="connsiteY0" fmla="*/ 0 h 224911"/>
              <a:gd name="connsiteX1" fmla="*/ 737416 w 737416"/>
              <a:gd name="connsiteY1" fmla="*/ 0 h 224911"/>
              <a:gd name="connsiteX2" fmla="*/ 737416 w 737416"/>
              <a:gd name="connsiteY2" fmla="*/ 224911 h 224911"/>
              <a:gd name="connsiteX3" fmla="*/ 0 w 737416"/>
              <a:gd name="connsiteY3" fmla="*/ 224911 h 224911"/>
              <a:gd name="connsiteX4" fmla="*/ 0 w 737416"/>
              <a:gd name="connsiteY4" fmla="*/ 0 h 224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6" h="224911">
                <a:moveTo>
                  <a:pt x="0" y="0"/>
                </a:moveTo>
                <a:lnTo>
                  <a:pt x="737416" y="0"/>
                </a:lnTo>
                <a:lnTo>
                  <a:pt x="737416" y="224911"/>
                </a:lnTo>
                <a:lnTo>
                  <a:pt x="0" y="224911"/>
                </a:lnTo>
                <a:lnTo>
                  <a:pt x="0" y="0"/>
                </a:lnTo>
                <a:close/>
              </a:path>
            </a:pathLst>
          </a:cu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75" tIns="3175" rIns="3175" bIns="3175" numCol="1" spcCol="1270" anchor="ctr" anchorCtr="0">
            <a:noAutofit/>
          </a:bodyPr>
          <a:lstStyle/>
          <a:p>
            <a:pPr algn="ctr" defTabSz="222250" fontAlgn="auto">
              <a:lnSpc>
                <a:spcPct val="90000"/>
              </a:lnSpc>
              <a:spcAft>
                <a:spcPct val="35000"/>
              </a:spcAft>
            </a:pPr>
            <a:r>
              <a:rPr lang="en-GB" sz="1400" b="1" smtClean="0">
                <a:solidFill>
                  <a:prstClr val="white"/>
                </a:solidFill>
                <a:latin typeface="Gill Sans MT" pitchFamily="34" charset="0"/>
                <a:sym typeface="Arial"/>
                <a:rtl val="0"/>
              </a:rPr>
              <a:t>Willingness to take risks</a:t>
            </a:r>
            <a:endParaRPr lang="en-GB" sz="1400">
              <a:solidFill>
                <a:prstClr val="white"/>
              </a:solidFill>
              <a:latin typeface="Gill Sans MT" pitchFamily="34" charset="0"/>
              <a:sym typeface="Arial"/>
              <a:rtl val="0"/>
            </a:endParaRPr>
          </a:p>
        </p:txBody>
      </p:sp>
      <p:grpSp>
        <p:nvGrpSpPr>
          <p:cNvPr id="83" name="Group 82"/>
          <p:cNvGrpSpPr/>
          <p:nvPr/>
        </p:nvGrpSpPr>
        <p:grpSpPr>
          <a:xfrm>
            <a:off x="2569173" y="791854"/>
            <a:ext cx="274635" cy="572981"/>
            <a:chOff x="-671721" y="1747178"/>
            <a:chExt cx="402093" cy="267300"/>
          </a:xfrm>
        </p:grpSpPr>
        <p:cxnSp>
          <p:nvCxnSpPr>
            <p:cNvPr id="21" name="Straight Connector 20"/>
            <p:cNvCxnSpPr/>
            <p:nvPr/>
          </p:nvCxnSpPr>
          <p:spPr>
            <a:xfrm>
              <a:off x="-671721" y="1881761"/>
              <a:ext cx="2580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6275942" y="2576838"/>
            <a:ext cx="96258" cy="323433"/>
            <a:chOff x="-671721" y="1747178"/>
            <a:chExt cx="402093" cy="267300"/>
          </a:xfrm>
        </p:grpSpPr>
        <p:cxnSp>
          <p:nvCxnSpPr>
            <p:cNvPr id="85" name="Straight Connector 84"/>
            <p:cNvCxnSpPr/>
            <p:nvPr/>
          </p:nvCxnSpPr>
          <p:spPr>
            <a:xfrm>
              <a:off x="-671721" y="1881761"/>
              <a:ext cx="2580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7" name="Group 96"/>
          <p:cNvGrpSpPr/>
          <p:nvPr/>
        </p:nvGrpSpPr>
        <p:grpSpPr>
          <a:xfrm>
            <a:off x="2632009" y="3518100"/>
            <a:ext cx="283807" cy="1639092"/>
            <a:chOff x="2632009" y="3518100"/>
            <a:chExt cx="283807" cy="1351060"/>
          </a:xfrm>
        </p:grpSpPr>
        <p:grpSp>
          <p:nvGrpSpPr>
            <p:cNvPr id="89" name="Group 88"/>
            <p:cNvGrpSpPr/>
            <p:nvPr/>
          </p:nvGrpSpPr>
          <p:grpSpPr>
            <a:xfrm>
              <a:off x="2632009" y="3518100"/>
              <a:ext cx="270410" cy="1351060"/>
              <a:chOff x="-665535" y="1747178"/>
              <a:chExt cx="395907" cy="267300"/>
            </a:xfrm>
          </p:grpSpPr>
          <p:cxnSp>
            <p:nvCxnSpPr>
              <p:cNvPr id="90" name="Straight Connector 89"/>
              <p:cNvCxnSpPr/>
              <p:nvPr/>
            </p:nvCxnSpPr>
            <p:spPr>
              <a:xfrm>
                <a:off x="-665535" y="1863200"/>
                <a:ext cx="2580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95" name="Straight Connector 94"/>
            <p:cNvCxnSpPr/>
            <p:nvPr/>
          </p:nvCxnSpPr>
          <p:spPr>
            <a:xfrm>
              <a:off x="2794003" y="4453680"/>
              <a:ext cx="121813"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2787626" y="4156909"/>
              <a:ext cx="121813"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2599535" y="1708975"/>
            <a:ext cx="312275" cy="922792"/>
            <a:chOff x="-627267" y="1747178"/>
            <a:chExt cx="457203" cy="267300"/>
          </a:xfrm>
        </p:grpSpPr>
        <p:cxnSp>
          <p:nvCxnSpPr>
            <p:cNvPr id="99" name="Straight Connector 98"/>
            <p:cNvCxnSpPr/>
            <p:nvPr/>
          </p:nvCxnSpPr>
          <p:spPr>
            <a:xfrm>
              <a:off x="-627267" y="1881761"/>
              <a:ext cx="457203"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5" name="Group 104"/>
          <p:cNvGrpSpPr/>
          <p:nvPr/>
        </p:nvGrpSpPr>
        <p:grpSpPr>
          <a:xfrm>
            <a:off x="2627784" y="5626580"/>
            <a:ext cx="274635" cy="754532"/>
            <a:chOff x="-671721" y="1747178"/>
            <a:chExt cx="402093" cy="264459"/>
          </a:xfrm>
        </p:grpSpPr>
        <p:cxnSp>
          <p:nvCxnSpPr>
            <p:cNvPr id="106" name="Straight Connector 105"/>
            <p:cNvCxnSpPr/>
            <p:nvPr/>
          </p:nvCxnSpPr>
          <p:spPr>
            <a:xfrm>
              <a:off x="-671721" y="1881761"/>
              <a:ext cx="2580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430736" y="1750343"/>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430736" y="1961236"/>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110" name="Straight Connector 109"/>
          <p:cNvCxnSpPr/>
          <p:nvPr/>
        </p:nvCxnSpPr>
        <p:spPr>
          <a:xfrm flipV="1">
            <a:off x="2792532" y="5847348"/>
            <a:ext cx="0" cy="75453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788685" y="6594816"/>
            <a:ext cx="110039"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5118786" y="2626516"/>
            <a:ext cx="12726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5148064" y="1946806"/>
            <a:ext cx="249668" cy="296904"/>
            <a:chOff x="-671721" y="1747178"/>
            <a:chExt cx="402093" cy="269913"/>
          </a:xfrm>
        </p:grpSpPr>
        <p:cxnSp>
          <p:nvCxnSpPr>
            <p:cNvPr id="114" name="Straight Connector 113"/>
            <p:cNvCxnSpPr/>
            <p:nvPr/>
          </p:nvCxnSpPr>
          <p:spPr>
            <a:xfrm>
              <a:off x="-671721" y="1949018"/>
              <a:ext cx="25807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427628" y="1752632"/>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18" name="Group 117"/>
          <p:cNvGrpSpPr/>
          <p:nvPr/>
        </p:nvGrpSpPr>
        <p:grpSpPr>
          <a:xfrm>
            <a:off x="5211546" y="1160718"/>
            <a:ext cx="187579" cy="323433"/>
            <a:chOff x="-671721" y="1747178"/>
            <a:chExt cx="402093" cy="267300"/>
          </a:xfrm>
        </p:grpSpPr>
        <p:cxnSp>
          <p:nvCxnSpPr>
            <p:cNvPr id="119" name="Straight Connector 118"/>
            <p:cNvCxnSpPr/>
            <p:nvPr/>
          </p:nvCxnSpPr>
          <p:spPr>
            <a:xfrm>
              <a:off x="-671721" y="1881761"/>
              <a:ext cx="2580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23" name="Group 122"/>
          <p:cNvGrpSpPr/>
          <p:nvPr/>
        </p:nvGrpSpPr>
        <p:grpSpPr>
          <a:xfrm>
            <a:off x="5187029" y="584654"/>
            <a:ext cx="206337" cy="323433"/>
            <a:chOff x="-671721" y="1747178"/>
            <a:chExt cx="402093" cy="267300"/>
          </a:xfrm>
        </p:grpSpPr>
        <p:cxnSp>
          <p:nvCxnSpPr>
            <p:cNvPr id="124" name="Straight Connector 123"/>
            <p:cNvCxnSpPr/>
            <p:nvPr/>
          </p:nvCxnSpPr>
          <p:spPr>
            <a:xfrm>
              <a:off x="-671721" y="1881761"/>
              <a:ext cx="2580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28" name="Group 127"/>
          <p:cNvGrpSpPr/>
          <p:nvPr/>
        </p:nvGrpSpPr>
        <p:grpSpPr>
          <a:xfrm>
            <a:off x="5148064" y="4151503"/>
            <a:ext cx="187579" cy="323433"/>
            <a:chOff x="-671721" y="1747178"/>
            <a:chExt cx="402093" cy="267300"/>
          </a:xfrm>
        </p:grpSpPr>
        <p:cxnSp>
          <p:nvCxnSpPr>
            <p:cNvPr id="129" name="Straight Connector 128"/>
            <p:cNvCxnSpPr/>
            <p:nvPr/>
          </p:nvCxnSpPr>
          <p:spPr>
            <a:xfrm>
              <a:off x="-671721" y="1881761"/>
              <a:ext cx="2580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5148064" y="4941168"/>
            <a:ext cx="249668" cy="323433"/>
            <a:chOff x="-671721" y="1747178"/>
            <a:chExt cx="402093" cy="267300"/>
          </a:xfrm>
        </p:grpSpPr>
        <p:cxnSp>
          <p:nvCxnSpPr>
            <p:cNvPr id="134" name="Straight Connector 133"/>
            <p:cNvCxnSpPr/>
            <p:nvPr/>
          </p:nvCxnSpPr>
          <p:spPr>
            <a:xfrm>
              <a:off x="-671721" y="1881761"/>
              <a:ext cx="2580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8" name="Group 137"/>
          <p:cNvGrpSpPr/>
          <p:nvPr/>
        </p:nvGrpSpPr>
        <p:grpSpPr>
          <a:xfrm>
            <a:off x="5237164" y="5557861"/>
            <a:ext cx="166111" cy="564709"/>
            <a:chOff x="-435739" y="1747178"/>
            <a:chExt cx="166111" cy="267300"/>
          </a:xfrm>
        </p:grpSpPr>
        <p:cxnSp>
          <p:nvCxnSpPr>
            <p:cNvPr id="139" name="Straight Connector 138"/>
            <p:cNvCxnSpPr/>
            <p:nvPr/>
          </p:nvCxnSpPr>
          <p:spPr>
            <a:xfrm>
              <a:off x="-435739" y="1881761"/>
              <a:ext cx="160246"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143" name="Straight Connector 142"/>
          <p:cNvCxnSpPr/>
          <p:nvPr/>
        </p:nvCxnSpPr>
        <p:spPr>
          <a:xfrm>
            <a:off x="5148064" y="5661248"/>
            <a:ext cx="110039"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44" name="Group 143"/>
          <p:cNvGrpSpPr/>
          <p:nvPr/>
        </p:nvGrpSpPr>
        <p:grpSpPr>
          <a:xfrm>
            <a:off x="5162650" y="3332055"/>
            <a:ext cx="234616" cy="630279"/>
            <a:chOff x="-627267" y="1747178"/>
            <a:chExt cx="457203" cy="267300"/>
          </a:xfrm>
        </p:grpSpPr>
        <p:cxnSp>
          <p:nvCxnSpPr>
            <p:cNvPr id="145" name="Straight Connector 144"/>
            <p:cNvCxnSpPr/>
            <p:nvPr/>
          </p:nvCxnSpPr>
          <p:spPr>
            <a:xfrm>
              <a:off x="-627267" y="1881761"/>
              <a:ext cx="457203"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9" name="Group 148"/>
          <p:cNvGrpSpPr/>
          <p:nvPr/>
        </p:nvGrpSpPr>
        <p:grpSpPr>
          <a:xfrm>
            <a:off x="5148064" y="6453336"/>
            <a:ext cx="249668" cy="323433"/>
            <a:chOff x="-671721" y="1747178"/>
            <a:chExt cx="402093" cy="267300"/>
          </a:xfrm>
        </p:grpSpPr>
        <p:cxnSp>
          <p:nvCxnSpPr>
            <p:cNvPr id="150" name="Straight Connector 149"/>
            <p:cNvCxnSpPr/>
            <p:nvPr/>
          </p:nvCxnSpPr>
          <p:spPr>
            <a:xfrm>
              <a:off x="-671721" y="1881761"/>
              <a:ext cx="258077"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flipV="1">
              <a:off x="-422190" y="1747178"/>
              <a:ext cx="0" cy="26445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430736" y="17471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30736" y="2014478"/>
              <a:ext cx="16110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54" name="Title 153"/>
          <p:cNvSpPr>
            <a:spLocks noGrp="1"/>
          </p:cNvSpPr>
          <p:nvPr>
            <p:ph type="title"/>
          </p:nvPr>
        </p:nvSpPr>
        <p:spPr>
          <a:xfrm>
            <a:off x="-756592" y="-99392"/>
            <a:ext cx="3839169" cy="1039091"/>
          </a:xfrm>
        </p:spPr>
        <p:txBody>
          <a:bodyPr>
            <a:normAutofit fontScale="90000"/>
          </a:bodyPr>
          <a:lstStyle/>
          <a:p>
            <a:pPr fontAlgn="auto">
              <a:spcBef>
                <a:spcPts val="0"/>
              </a:spcBef>
              <a:spcAft>
                <a:spcPts val="0"/>
              </a:spcAft>
            </a:pPr>
            <a:r>
              <a:rPr lang="en-GB" sz="3200" b="1" dirty="0">
                <a:solidFill>
                  <a:prstClr val="black"/>
                </a:solidFill>
                <a:latin typeface="Gill Sans MT" pitchFamily="34" charset="0"/>
                <a:cs typeface="Arial"/>
                <a:sym typeface="Arial"/>
                <a:rtl val="0"/>
              </a:rPr>
              <a:t>Oracy Skills Framework</a:t>
            </a:r>
            <a:endParaRPr lang="en-GB" sz="3200" b="1" dirty="0">
              <a:solidFill>
                <a:prstClr val="black"/>
              </a:solidFill>
              <a:latin typeface="Gill Sans MT" pitchFamily="34" charset="0"/>
              <a:cs typeface="Arial"/>
              <a:sym typeface="Arial"/>
              <a:rtl val="0"/>
            </a:endParaRPr>
          </a:p>
        </p:txBody>
      </p:sp>
    </p:spTree>
    <p:extLst>
      <p:ext uri="{BB962C8B-B14F-4D97-AF65-F5344CB8AC3E}">
        <p14:creationId xmlns:p14="http://schemas.microsoft.com/office/powerpoint/2010/main" val="2947248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tSx6taZb0am9Gpk0_cl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8O5CdX1PEOMA6HO2jwt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du9y4cleUK95PhfTDXI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5NAa3M8U0u.FPSy6Wma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Z_JEmFS6kyLjtD2F5ZV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Z_JEmFS6kyLjtD2F5ZV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Z_JEmFS6kyLjtD2F5ZV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BHRd30Hb0KiS5kIcSme3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Z_JEmFS6kyLjtD2F5ZV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Nt1VKyKG0a5TpBjfKJt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uF4Q8OZEeBssQ04ihH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IisxHe0bUiYODzV_7Lx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Kgiw2xr0m8LA5G4624q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School 21">
      <a:dk1>
        <a:srgbClr val="000000"/>
      </a:dk1>
      <a:lt1>
        <a:srgbClr val="FFFFFF"/>
      </a:lt1>
      <a:dk2>
        <a:srgbClr val="510C4B"/>
      </a:dk2>
      <a:lt2>
        <a:srgbClr val="EEECE1"/>
      </a:lt2>
      <a:accent1>
        <a:srgbClr val="C3F7FD"/>
      </a:accent1>
      <a:accent2>
        <a:srgbClr val="64EAF8"/>
      </a:accent2>
      <a:accent3>
        <a:srgbClr val="2BF5D3"/>
      </a:accent3>
      <a:accent4>
        <a:srgbClr val="07A1AF"/>
      </a:accent4>
      <a:accent5>
        <a:srgbClr val="510C4B"/>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3</TotalTime>
  <Words>1516</Words>
  <Application>Microsoft Office PowerPoint</Application>
  <PresentationFormat>On-screen Show (4:3)</PresentationFormat>
  <Paragraphs>188</Paragraphs>
  <Slides>11</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Office Theme</vt:lpstr>
      <vt:lpstr>1_Office Theme</vt:lpstr>
      <vt:lpstr>think-cell Slide</vt:lpstr>
      <vt:lpstr>Oracy is the effective use of spoken language, at school, at work and beyond</vt:lpstr>
      <vt:lpstr>PowerPoint Presentation</vt:lpstr>
      <vt:lpstr>Voice 21 is a joint project between School 21, Cambridge University and the Education Endowment Foundation</vt:lpstr>
      <vt:lpstr>Oracy is an essential skill which children require in a range of contexts, today and in the future</vt:lpstr>
      <vt:lpstr>The project will develop an oracy curriculum, culture and assessment for use in schools</vt:lpstr>
      <vt:lpstr>School 21 will need to work with partners to teach oracy skills effectively </vt:lpstr>
      <vt:lpstr>We need to work out a balanced exchange of benefits between the school and its partners</vt:lpstr>
      <vt:lpstr>Oracy skills framework – an introduction</vt:lpstr>
      <vt:lpstr>Oracy Skills Framework</vt:lpstr>
      <vt:lpstr>Glossary and additional categories</vt:lpstr>
      <vt:lpstr>Timetable, the major mileston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tners for the Oracy Project</dc:title>
  <dc:creator>Benjamin Mortimer</dc:creator>
  <cp:lastModifiedBy>Benjamin Mortimer</cp:lastModifiedBy>
  <cp:revision>13</cp:revision>
  <dcterms:created xsi:type="dcterms:W3CDTF">2013-06-03T10:10:47Z</dcterms:created>
  <dcterms:modified xsi:type="dcterms:W3CDTF">2013-06-03T16:24:41Z</dcterms:modified>
</cp:coreProperties>
</file>